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16"/>
  </p:notesMasterIdLst>
  <p:sldIdLst>
    <p:sldId id="256" r:id="rId2"/>
    <p:sldId id="284" r:id="rId3"/>
    <p:sldId id="275" r:id="rId4"/>
    <p:sldId id="286" r:id="rId5"/>
    <p:sldId id="274" r:id="rId6"/>
    <p:sldId id="276" r:id="rId7"/>
    <p:sldId id="285" r:id="rId8"/>
    <p:sldId id="277" r:id="rId9"/>
    <p:sldId id="278" r:id="rId10"/>
    <p:sldId id="279" r:id="rId11"/>
    <p:sldId id="287" r:id="rId12"/>
    <p:sldId id="288" r:id="rId13"/>
    <p:sldId id="289" r:id="rId14"/>
    <p:sldId id="270" r:id="rId15"/>
  </p:sldIdLst>
  <p:sldSz cx="10693400" cy="7561263"/>
  <p:notesSz cx="9926638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90" userDrawn="1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38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20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40" autoAdjust="0"/>
    <p:restoredTop sz="94660"/>
  </p:normalViewPr>
  <p:slideViewPr>
    <p:cSldViewPr>
      <p:cViewPr varScale="1">
        <p:scale>
          <a:sx n="77" d="100"/>
          <a:sy n="77" d="100"/>
        </p:scale>
        <p:origin x="1267" y="53"/>
      </p:cViewPr>
      <p:guideLst>
        <p:guide orient="horz" pos="3390"/>
        <p:guide pos="2160"/>
        <p:guide orient="horz" pos="338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854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397300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6429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15048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99432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85897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66377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74654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75604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3394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93974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7870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801202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448902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3757" tIns="41879" rIns="83757" bIns="41879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58314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2005" y="2343991"/>
            <a:ext cx="9089390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604011" y="4234307"/>
            <a:ext cx="7485379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018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16203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300" b="0" i="0">
                <a:solidFill>
                  <a:srgbClr val="16203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018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16203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4671" y="1739090"/>
            <a:ext cx="4651629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07101" y="1739090"/>
            <a:ext cx="4651629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018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700" b="0" i="0">
                <a:solidFill>
                  <a:srgbClr val="16203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018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018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  <p:sp>
        <p:nvSpPr>
          <p:cNvPr id="5" name="object 2"/>
          <p:cNvSpPr/>
          <p:nvPr userDrawn="1"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036976" y="3489953"/>
            <a:ext cx="6619446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700" b="0" i="0">
                <a:solidFill>
                  <a:srgbClr val="16203A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30032" y="2439554"/>
            <a:ext cx="6833337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00" b="0" i="0">
                <a:solidFill>
                  <a:srgbClr val="16203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7" y="7031974"/>
            <a:ext cx="342188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31974"/>
            <a:ext cx="24594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018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31974"/>
            <a:ext cx="24594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2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3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7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Relationship Id="rId9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Relationship Id="rId9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509308" y="2113274"/>
            <a:ext cx="7952191" cy="3657151"/>
            <a:chOff x="1509308" y="1647031"/>
            <a:chExt cx="7952191" cy="3657151"/>
          </a:xfrm>
        </p:grpSpPr>
        <p:sp>
          <p:nvSpPr>
            <p:cNvPr id="6" name="object 6"/>
            <p:cNvSpPr/>
            <p:nvPr/>
          </p:nvSpPr>
          <p:spPr>
            <a:xfrm>
              <a:off x="3196438" y="1933439"/>
              <a:ext cx="221615" cy="357430"/>
            </a:xfrm>
            <a:custGeom>
              <a:avLst/>
              <a:gdLst/>
              <a:ahLst/>
              <a:cxnLst/>
              <a:rect l="l" t="t" r="r" b="b"/>
              <a:pathLst>
                <a:path w="221614" h="357505">
                  <a:moveTo>
                    <a:pt x="204527" y="356981"/>
                  </a:moveTo>
                  <a:lnTo>
                    <a:pt x="198821" y="356981"/>
                  </a:lnTo>
                  <a:lnTo>
                    <a:pt x="204459" y="357073"/>
                  </a:lnTo>
                  <a:close/>
                </a:path>
                <a:path w="221614" h="357505">
                  <a:moveTo>
                    <a:pt x="3413" y="0"/>
                  </a:moveTo>
                  <a:lnTo>
                    <a:pt x="2255" y="2407"/>
                  </a:lnTo>
                  <a:lnTo>
                    <a:pt x="0" y="7223"/>
                  </a:lnTo>
                  <a:lnTo>
                    <a:pt x="6671" y="12827"/>
                  </a:lnTo>
                  <a:lnTo>
                    <a:pt x="18094" y="17561"/>
                  </a:lnTo>
                  <a:lnTo>
                    <a:pt x="29521" y="22436"/>
                  </a:lnTo>
                  <a:lnTo>
                    <a:pt x="74698" y="44365"/>
                  </a:lnTo>
                  <a:lnTo>
                    <a:pt x="107236" y="64783"/>
                  </a:lnTo>
                  <a:lnTo>
                    <a:pt x="137777" y="90128"/>
                  </a:lnTo>
                  <a:lnTo>
                    <a:pt x="167328" y="129115"/>
                  </a:lnTo>
                  <a:lnTo>
                    <a:pt x="186206" y="165392"/>
                  </a:lnTo>
                  <a:lnTo>
                    <a:pt x="196646" y="214448"/>
                  </a:lnTo>
                  <a:lnTo>
                    <a:pt x="198872" y="255663"/>
                  </a:lnTo>
                  <a:lnTo>
                    <a:pt x="198772" y="268361"/>
                  </a:lnTo>
                  <a:lnTo>
                    <a:pt x="196597" y="319105"/>
                  </a:lnTo>
                  <a:lnTo>
                    <a:pt x="193243" y="357042"/>
                  </a:lnTo>
                  <a:lnTo>
                    <a:pt x="198821" y="356981"/>
                  </a:lnTo>
                  <a:lnTo>
                    <a:pt x="204527" y="356981"/>
                  </a:lnTo>
                  <a:lnTo>
                    <a:pt x="211698" y="347227"/>
                  </a:lnTo>
                  <a:lnTo>
                    <a:pt x="218490" y="298173"/>
                  </a:lnTo>
                  <a:lnTo>
                    <a:pt x="221382" y="248293"/>
                  </a:lnTo>
                  <a:lnTo>
                    <a:pt x="221142" y="235720"/>
                  </a:lnTo>
                  <a:lnTo>
                    <a:pt x="217351" y="197807"/>
                  </a:lnTo>
                  <a:lnTo>
                    <a:pt x="203428" y="151128"/>
                  </a:lnTo>
                  <a:lnTo>
                    <a:pt x="181164" y="116116"/>
                  </a:lnTo>
                  <a:lnTo>
                    <a:pt x="148948" y="77000"/>
                  </a:lnTo>
                  <a:lnTo>
                    <a:pt x="118280" y="53536"/>
                  </a:lnTo>
                  <a:lnTo>
                    <a:pt x="107916" y="46332"/>
                  </a:lnTo>
                  <a:lnTo>
                    <a:pt x="75127" y="26717"/>
                  </a:lnTo>
                  <a:lnTo>
                    <a:pt x="51154" y="17326"/>
                  </a:lnTo>
                  <a:lnTo>
                    <a:pt x="27406" y="8299"/>
                  </a:lnTo>
                  <a:lnTo>
                    <a:pt x="15467" y="3986"/>
                  </a:lnTo>
                  <a:lnTo>
                    <a:pt x="341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" name="object 7"/>
            <p:cNvSpPr/>
            <p:nvPr/>
          </p:nvSpPr>
          <p:spPr>
            <a:xfrm>
              <a:off x="1509308" y="1647031"/>
              <a:ext cx="2509520" cy="2508359"/>
            </a:xfrm>
            <a:custGeom>
              <a:avLst/>
              <a:gdLst/>
              <a:ahLst/>
              <a:cxnLst/>
              <a:rect l="l" t="t" r="r" b="b"/>
              <a:pathLst>
                <a:path w="2509520" h="2508885">
                  <a:moveTo>
                    <a:pt x="1254477" y="0"/>
                  </a:moveTo>
                  <a:lnTo>
                    <a:pt x="1100990" y="9143"/>
                  </a:lnTo>
                  <a:lnTo>
                    <a:pt x="953019" y="36575"/>
                  </a:lnTo>
                  <a:lnTo>
                    <a:pt x="905109" y="51815"/>
                  </a:lnTo>
                  <a:lnTo>
                    <a:pt x="857974" y="64007"/>
                  </a:lnTo>
                  <a:lnTo>
                    <a:pt x="811653" y="82295"/>
                  </a:lnTo>
                  <a:lnTo>
                    <a:pt x="721617" y="118871"/>
                  </a:lnTo>
                  <a:lnTo>
                    <a:pt x="677982" y="140207"/>
                  </a:lnTo>
                  <a:lnTo>
                    <a:pt x="635324" y="164591"/>
                  </a:lnTo>
                  <a:lnTo>
                    <a:pt x="593682" y="188975"/>
                  </a:lnTo>
                  <a:lnTo>
                    <a:pt x="553097" y="216407"/>
                  </a:lnTo>
                  <a:lnTo>
                    <a:pt x="513609" y="243839"/>
                  </a:lnTo>
                  <a:lnTo>
                    <a:pt x="475258" y="271271"/>
                  </a:lnTo>
                  <a:lnTo>
                    <a:pt x="438086" y="301751"/>
                  </a:lnTo>
                  <a:lnTo>
                    <a:pt x="402131" y="335279"/>
                  </a:lnTo>
                  <a:lnTo>
                    <a:pt x="367436" y="368807"/>
                  </a:lnTo>
                  <a:lnTo>
                    <a:pt x="334038" y="402335"/>
                  </a:lnTo>
                  <a:lnTo>
                    <a:pt x="301980" y="438911"/>
                  </a:lnTo>
                  <a:lnTo>
                    <a:pt x="271302" y="475487"/>
                  </a:lnTo>
                  <a:lnTo>
                    <a:pt x="242044" y="515111"/>
                  </a:lnTo>
                  <a:lnTo>
                    <a:pt x="214247" y="554735"/>
                  </a:lnTo>
                  <a:lnTo>
                    <a:pt x="187951" y="594359"/>
                  </a:lnTo>
                  <a:lnTo>
                    <a:pt x="163196" y="637031"/>
                  </a:lnTo>
                  <a:lnTo>
                    <a:pt x="140023" y="679703"/>
                  </a:lnTo>
                  <a:lnTo>
                    <a:pt x="118471" y="722375"/>
                  </a:lnTo>
                  <a:lnTo>
                    <a:pt x="98582" y="768095"/>
                  </a:lnTo>
                  <a:lnTo>
                    <a:pt x="80396" y="813815"/>
                  </a:lnTo>
                  <a:lnTo>
                    <a:pt x="63953" y="859535"/>
                  </a:lnTo>
                  <a:lnTo>
                    <a:pt x="49294" y="905255"/>
                  </a:lnTo>
                  <a:lnTo>
                    <a:pt x="36458" y="954023"/>
                  </a:lnTo>
                  <a:lnTo>
                    <a:pt x="25486" y="1002791"/>
                  </a:lnTo>
                  <a:lnTo>
                    <a:pt x="16418" y="1051559"/>
                  </a:lnTo>
                  <a:lnTo>
                    <a:pt x="9296" y="1103375"/>
                  </a:lnTo>
                  <a:lnTo>
                    <a:pt x="4158" y="1152143"/>
                  </a:lnTo>
                  <a:lnTo>
                    <a:pt x="1046" y="1203959"/>
                  </a:lnTo>
                  <a:lnTo>
                    <a:pt x="0" y="1255775"/>
                  </a:lnTo>
                  <a:lnTo>
                    <a:pt x="1046" y="1307591"/>
                  </a:lnTo>
                  <a:lnTo>
                    <a:pt x="4158" y="1359407"/>
                  </a:lnTo>
                  <a:lnTo>
                    <a:pt x="9296" y="1408175"/>
                  </a:lnTo>
                  <a:lnTo>
                    <a:pt x="16418" y="1459991"/>
                  </a:lnTo>
                  <a:lnTo>
                    <a:pt x="25486" y="1508759"/>
                  </a:lnTo>
                  <a:lnTo>
                    <a:pt x="36458" y="1557527"/>
                  </a:lnTo>
                  <a:lnTo>
                    <a:pt x="49294" y="1606295"/>
                  </a:lnTo>
                  <a:lnTo>
                    <a:pt x="63953" y="1652015"/>
                  </a:lnTo>
                  <a:lnTo>
                    <a:pt x="80396" y="1697735"/>
                  </a:lnTo>
                  <a:lnTo>
                    <a:pt x="98582" y="1743455"/>
                  </a:lnTo>
                  <a:lnTo>
                    <a:pt x="118471" y="1789175"/>
                  </a:lnTo>
                  <a:lnTo>
                    <a:pt x="140023" y="1831847"/>
                  </a:lnTo>
                  <a:lnTo>
                    <a:pt x="163196" y="1874519"/>
                  </a:lnTo>
                  <a:lnTo>
                    <a:pt x="187951" y="1917191"/>
                  </a:lnTo>
                  <a:lnTo>
                    <a:pt x="214247" y="1956815"/>
                  </a:lnTo>
                  <a:lnTo>
                    <a:pt x="242044" y="1996439"/>
                  </a:lnTo>
                  <a:lnTo>
                    <a:pt x="271302" y="2036063"/>
                  </a:lnTo>
                  <a:lnTo>
                    <a:pt x="301980" y="2072639"/>
                  </a:lnTo>
                  <a:lnTo>
                    <a:pt x="334038" y="2109215"/>
                  </a:lnTo>
                  <a:lnTo>
                    <a:pt x="367436" y="2142743"/>
                  </a:lnTo>
                  <a:lnTo>
                    <a:pt x="402131" y="2176271"/>
                  </a:lnTo>
                  <a:lnTo>
                    <a:pt x="438086" y="2206751"/>
                  </a:lnTo>
                  <a:lnTo>
                    <a:pt x="475258" y="2237231"/>
                  </a:lnTo>
                  <a:lnTo>
                    <a:pt x="513609" y="2267711"/>
                  </a:lnTo>
                  <a:lnTo>
                    <a:pt x="553097" y="2295143"/>
                  </a:lnTo>
                  <a:lnTo>
                    <a:pt x="593682" y="2322575"/>
                  </a:lnTo>
                  <a:lnTo>
                    <a:pt x="635324" y="2346959"/>
                  </a:lnTo>
                  <a:lnTo>
                    <a:pt x="677982" y="2371343"/>
                  </a:lnTo>
                  <a:lnTo>
                    <a:pt x="721617" y="2392679"/>
                  </a:lnTo>
                  <a:lnTo>
                    <a:pt x="766187" y="2410967"/>
                  </a:lnTo>
                  <a:lnTo>
                    <a:pt x="857974" y="2447543"/>
                  </a:lnTo>
                  <a:lnTo>
                    <a:pt x="905109" y="2459735"/>
                  </a:lnTo>
                  <a:lnTo>
                    <a:pt x="953019" y="2474975"/>
                  </a:lnTo>
                  <a:lnTo>
                    <a:pt x="1051000" y="2493263"/>
                  </a:lnTo>
                  <a:lnTo>
                    <a:pt x="1151594" y="2505455"/>
                  </a:lnTo>
                  <a:lnTo>
                    <a:pt x="1202769" y="2508503"/>
                  </a:lnTo>
                  <a:lnTo>
                    <a:pt x="1306188" y="2508503"/>
                  </a:lnTo>
                  <a:lnTo>
                    <a:pt x="1357366" y="2505455"/>
                  </a:lnTo>
                  <a:lnTo>
                    <a:pt x="1457963" y="2493263"/>
                  </a:lnTo>
                  <a:lnTo>
                    <a:pt x="1555946" y="2474975"/>
                  </a:lnTo>
                  <a:lnTo>
                    <a:pt x="1603856" y="2459735"/>
                  </a:lnTo>
                  <a:lnTo>
                    <a:pt x="1650992" y="2447543"/>
                  </a:lnTo>
                  <a:lnTo>
                    <a:pt x="1727624" y="2417063"/>
                  </a:lnTo>
                  <a:lnTo>
                    <a:pt x="1206578" y="2417063"/>
                  </a:lnTo>
                  <a:lnTo>
                    <a:pt x="1159173" y="2414015"/>
                  </a:lnTo>
                  <a:lnTo>
                    <a:pt x="1065990" y="2401823"/>
                  </a:lnTo>
                  <a:lnTo>
                    <a:pt x="975227" y="2383535"/>
                  </a:lnTo>
                  <a:lnTo>
                    <a:pt x="887184" y="2359151"/>
                  </a:lnTo>
                  <a:lnTo>
                    <a:pt x="844276" y="2343911"/>
                  </a:lnTo>
                  <a:lnTo>
                    <a:pt x="760874" y="2307335"/>
                  </a:lnTo>
                  <a:lnTo>
                    <a:pt x="720454" y="2289047"/>
                  </a:lnTo>
                  <a:lnTo>
                    <a:pt x="680939" y="2267711"/>
                  </a:lnTo>
                  <a:lnTo>
                    <a:pt x="642365" y="2243327"/>
                  </a:lnTo>
                  <a:lnTo>
                    <a:pt x="604770" y="2218943"/>
                  </a:lnTo>
                  <a:lnTo>
                    <a:pt x="568192" y="2194559"/>
                  </a:lnTo>
                  <a:lnTo>
                    <a:pt x="532668" y="2167127"/>
                  </a:lnTo>
                  <a:lnTo>
                    <a:pt x="498234" y="2136647"/>
                  </a:lnTo>
                  <a:lnTo>
                    <a:pt x="464930" y="2109215"/>
                  </a:lnTo>
                  <a:lnTo>
                    <a:pt x="432791" y="2078735"/>
                  </a:lnTo>
                  <a:lnTo>
                    <a:pt x="422427" y="2066543"/>
                  </a:lnTo>
                  <a:lnTo>
                    <a:pt x="412196" y="2057399"/>
                  </a:lnTo>
                  <a:lnTo>
                    <a:pt x="402100" y="2045207"/>
                  </a:lnTo>
                  <a:lnTo>
                    <a:pt x="392140" y="2033015"/>
                  </a:lnTo>
                  <a:lnTo>
                    <a:pt x="382316" y="2023871"/>
                  </a:lnTo>
                  <a:lnTo>
                    <a:pt x="372632" y="2011679"/>
                  </a:lnTo>
                  <a:lnTo>
                    <a:pt x="363087" y="2002535"/>
                  </a:lnTo>
                  <a:lnTo>
                    <a:pt x="353683" y="1990343"/>
                  </a:lnTo>
                  <a:lnTo>
                    <a:pt x="344421" y="1978151"/>
                  </a:lnTo>
                  <a:lnTo>
                    <a:pt x="335304" y="1965959"/>
                  </a:lnTo>
                  <a:lnTo>
                    <a:pt x="326331" y="1953767"/>
                  </a:lnTo>
                  <a:lnTo>
                    <a:pt x="317505" y="1941575"/>
                  </a:lnTo>
                  <a:lnTo>
                    <a:pt x="308827" y="1932431"/>
                  </a:lnTo>
                  <a:lnTo>
                    <a:pt x="300298" y="1920239"/>
                  </a:lnTo>
                  <a:lnTo>
                    <a:pt x="291919" y="1908047"/>
                  </a:lnTo>
                  <a:lnTo>
                    <a:pt x="283692" y="1895855"/>
                  </a:lnTo>
                  <a:lnTo>
                    <a:pt x="278848" y="1886711"/>
                  </a:lnTo>
                  <a:lnTo>
                    <a:pt x="223528" y="1886711"/>
                  </a:lnTo>
                  <a:lnTo>
                    <a:pt x="207017" y="1859279"/>
                  </a:lnTo>
                  <a:lnTo>
                    <a:pt x="191234" y="1828799"/>
                  </a:lnTo>
                  <a:lnTo>
                    <a:pt x="176191" y="1801367"/>
                  </a:lnTo>
                  <a:lnTo>
                    <a:pt x="161901" y="1770887"/>
                  </a:lnTo>
                  <a:lnTo>
                    <a:pt x="148378" y="1743455"/>
                  </a:lnTo>
                  <a:lnTo>
                    <a:pt x="135633" y="1712975"/>
                  </a:lnTo>
                  <a:lnTo>
                    <a:pt x="112533" y="1652015"/>
                  </a:lnTo>
                  <a:lnTo>
                    <a:pt x="84048" y="1557527"/>
                  </a:lnTo>
                  <a:lnTo>
                    <a:pt x="69319" y="1490471"/>
                  </a:lnTo>
                  <a:lnTo>
                    <a:pt x="58118" y="1426463"/>
                  </a:lnTo>
                  <a:lnTo>
                    <a:pt x="50549" y="1359407"/>
                  </a:lnTo>
                  <a:lnTo>
                    <a:pt x="46716" y="1289303"/>
                  </a:lnTo>
                  <a:lnTo>
                    <a:pt x="46232" y="1255775"/>
                  </a:lnTo>
                  <a:lnTo>
                    <a:pt x="50237" y="1155191"/>
                  </a:lnTo>
                  <a:lnTo>
                    <a:pt x="62045" y="1060703"/>
                  </a:lnTo>
                  <a:lnTo>
                    <a:pt x="81346" y="966215"/>
                  </a:lnTo>
                  <a:lnTo>
                    <a:pt x="107828" y="874775"/>
                  </a:lnTo>
                  <a:lnTo>
                    <a:pt x="141181" y="786383"/>
                  </a:lnTo>
                  <a:lnTo>
                    <a:pt x="181093" y="701039"/>
                  </a:lnTo>
                  <a:lnTo>
                    <a:pt x="227254" y="618743"/>
                  </a:lnTo>
                  <a:lnTo>
                    <a:pt x="279352" y="542543"/>
                  </a:lnTo>
                  <a:lnTo>
                    <a:pt x="337077" y="469391"/>
                  </a:lnTo>
                  <a:lnTo>
                    <a:pt x="400117" y="402335"/>
                  </a:lnTo>
                  <a:lnTo>
                    <a:pt x="468163" y="338327"/>
                  </a:lnTo>
                  <a:lnTo>
                    <a:pt x="540902" y="280415"/>
                  </a:lnTo>
                  <a:lnTo>
                    <a:pt x="618024" y="228599"/>
                  </a:lnTo>
                  <a:lnTo>
                    <a:pt x="699217" y="182879"/>
                  </a:lnTo>
                  <a:lnTo>
                    <a:pt x="784172" y="143255"/>
                  </a:lnTo>
                  <a:lnTo>
                    <a:pt x="872577" y="109727"/>
                  </a:lnTo>
                  <a:lnTo>
                    <a:pt x="964121" y="82295"/>
                  </a:lnTo>
                  <a:lnTo>
                    <a:pt x="1058493" y="64007"/>
                  </a:lnTo>
                  <a:lnTo>
                    <a:pt x="1155382" y="51815"/>
                  </a:lnTo>
                  <a:lnTo>
                    <a:pt x="1254477" y="48767"/>
                  </a:lnTo>
                  <a:lnTo>
                    <a:pt x="1594274" y="48767"/>
                  </a:lnTo>
                  <a:lnTo>
                    <a:pt x="1555946" y="36575"/>
                  </a:lnTo>
                  <a:lnTo>
                    <a:pt x="1407971" y="9143"/>
                  </a:lnTo>
                  <a:lnTo>
                    <a:pt x="1254477" y="0"/>
                  </a:lnTo>
                  <a:close/>
                </a:path>
                <a:path w="2509520" h="2508885">
                  <a:moveTo>
                    <a:pt x="2390676" y="914399"/>
                  </a:moveTo>
                  <a:lnTo>
                    <a:pt x="2365308" y="914399"/>
                  </a:lnTo>
                  <a:lnTo>
                    <a:pt x="2370185" y="929639"/>
                  </a:lnTo>
                  <a:lnTo>
                    <a:pt x="2374830" y="944879"/>
                  </a:lnTo>
                  <a:lnTo>
                    <a:pt x="2379241" y="963167"/>
                  </a:lnTo>
                  <a:lnTo>
                    <a:pt x="2383415" y="978407"/>
                  </a:lnTo>
                  <a:lnTo>
                    <a:pt x="2387351" y="996695"/>
                  </a:lnTo>
                  <a:lnTo>
                    <a:pt x="2391047" y="1011935"/>
                  </a:lnTo>
                  <a:lnTo>
                    <a:pt x="2394501" y="1030223"/>
                  </a:lnTo>
                  <a:lnTo>
                    <a:pt x="2397712" y="1045463"/>
                  </a:lnTo>
                  <a:lnTo>
                    <a:pt x="2400676" y="1063751"/>
                  </a:lnTo>
                  <a:lnTo>
                    <a:pt x="2403393" y="1078991"/>
                  </a:lnTo>
                  <a:lnTo>
                    <a:pt x="2405860" y="1097279"/>
                  </a:lnTo>
                  <a:lnTo>
                    <a:pt x="2408076" y="1115567"/>
                  </a:lnTo>
                  <a:lnTo>
                    <a:pt x="2410038" y="1130807"/>
                  </a:lnTo>
                  <a:lnTo>
                    <a:pt x="2411745" y="1149095"/>
                  </a:lnTo>
                  <a:lnTo>
                    <a:pt x="2415314" y="1200911"/>
                  </a:lnTo>
                  <a:lnTo>
                    <a:pt x="2416515" y="1255775"/>
                  </a:lnTo>
                  <a:lnTo>
                    <a:pt x="2415546" y="1304543"/>
                  </a:lnTo>
                  <a:lnTo>
                    <a:pt x="2412663" y="1350263"/>
                  </a:lnTo>
                  <a:lnTo>
                    <a:pt x="2407904" y="1399031"/>
                  </a:lnTo>
                  <a:lnTo>
                    <a:pt x="2401307" y="1444751"/>
                  </a:lnTo>
                  <a:lnTo>
                    <a:pt x="2392908" y="1490471"/>
                  </a:lnTo>
                  <a:lnTo>
                    <a:pt x="2382745" y="1536191"/>
                  </a:lnTo>
                  <a:lnTo>
                    <a:pt x="2370855" y="1578863"/>
                  </a:lnTo>
                  <a:lnTo>
                    <a:pt x="2357276" y="1621535"/>
                  </a:lnTo>
                  <a:lnTo>
                    <a:pt x="2342046" y="1667255"/>
                  </a:lnTo>
                  <a:lnTo>
                    <a:pt x="2325201" y="1706879"/>
                  </a:lnTo>
                  <a:lnTo>
                    <a:pt x="2306778" y="1749551"/>
                  </a:lnTo>
                  <a:lnTo>
                    <a:pt x="2286816" y="1789175"/>
                  </a:lnTo>
                  <a:lnTo>
                    <a:pt x="2265352" y="1828799"/>
                  </a:lnTo>
                  <a:lnTo>
                    <a:pt x="2242423" y="1868423"/>
                  </a:lnTo>
                  <a:lnTo>
                    <a:pt x="2218066" y="1904999"/>
                  </a:lnTo>
                  <a:lnTo>
                    <a:pt x="2192319" y="1941575"/>
                  </a:lnTo>
                  <a:lnTo>
                    <a:pt x="2165219" y="1978151"/>
                  </a:lnTo>
                  <a:lnTo>
                    <a:pt x="2136803" y="2011679"/>
                  </a:lnTo>
                  <a:lnTo>
                    <a:pt x="2107109" y="2045207"/>
                  </a:lnTo>
                  <a:lnTo>
                    <a:pt x="2076175" y="2078735"/>
                  </a:lnTo>
                  <a:lnTo>
                    <a:pt x="2044037" y="2109215"/>
                  </a:lnTo>
                  <a:lnTo>
                    <a:pt x="2010734" y="2136647"/>
                  </a:lnTo>
                  <a:lnTo>
                    <a:pt x="1976302" y="2167127"/>
                  </a:lnTo>
                  <a:lnTo>
                    <a:pt x="1940778" y="2194559"/>
                  </a:lnTo>
                  <a:lnTo>
                    <a:pt x="1904201" y="2218943"/>
                  </a:lnTo>
                  <a:lnTo>
                    <a:pt x="1866607" y="2243327"/>
                  </a:lnTo>
                  <a:lnTo>
                    <a:pt x="1828033" y="2267711"/>
                  </a:lnTo>
                  <a:lnTo>
                    <a:pt x="1788518" y="2289047"/>
                  </a:lnTo>
                  <a:lnTo>
                    <a:pt x="1748099" y="2307335"/>
                  </a:lnTo>
                  <a:lnTo>
                    <a:pt x="1664696" y="2343911"/>
                  </a:lnTo>
                  <a:lnTo>
                    <a:pt x="1621788" y="2359151"/>
                  </a:lnTo>
                  <a:lnTo>
                    <a:pt x="1533743" y="2383535"/>
                  </a:lnTo>
                  <a:lnTo>
                    <a:pt x="1442977" y="2401823"/>
                  </a:lnTo>
                  <a:lnTo>
                    <a:pt x="1349789" y="2414015"/>
                  </a:lnTo>
                  <a:lnTo>
                    <a:pt x="1302380" y="2417063"/>
                  </a:lnTo>
                  <a:lnTo>
                    <a:pt x="1727624" y="2417063"/>
                  </a:lnTo>
                  <a:lnTo>
                    <a:pt x="1787349" y="2392679"/>
                  </a:lnTo>
                  <a:lnTo>
                    <a:pt x="1830983" y="2371343"/>
                  </a:lnTo>
                  <a:lnTo>
                    <a:pt x="1873641" y="2346959"/>
                  </a:lnTo>
                  <a:lnTo>
                    <a:pt x="1915282" y="2322575"/>
                  </a:lnTo>
                  <a:lnTo>
                    <a:pt x="1955867" y="2295143"/>
                  </a:lnTo>
                  <a:lnTo>
                    <a:pt x="1995354" y="2267711"/>
                  </a:lnTo>
                  <a:lnTo>
                    <a:pt x="2033704" y="2237231"/>
                  </a:lnTo>
                  <a:lnTo>
                    <a:pt x="2070876" y="2206751"/>
                  </a:lnTo>
                  <a:lnTo>
                    <a:pt x="2106829" y="2176271"/>
                  </a:lnTo>
                  <a:lnTo>
                    <a:pt x="2141524" y="2142743"/>
                  </a:lnTo>
                  <a:lnTo>
                    <a:pt x="2174920" y="2109215"/>
                  </a:lnTo>
                  <a:lnTo>
                    <a:pt x="2206976" y="2072639"/>
                  </a:lnTo>
                  <a:lnTo>
                    <a:pt x="2237652" y="2036063"/>
                  </a:lnTo>
                  <a:lnTo>
                    <a:pt x="2266908" y="1996439"/>
                  </a:lnTo>
                  <a:lnTo>
                    <a:pt x="2294703" y="1956815"/>
                  </a:lnTo>
                  <a:lnTo>
                    <a:pt x="2320998" y="1917191"/>
                  </a:lnTo>
                  <a:lnTo>
                    <a:pt x="2345750" y="1874519"/>
                  </a:lnTo>
                  <a:lnTo>
                    <a:pt x="2368922" y="1831847"/>
                  </a:lnTo>
                  <a:lnTo>
                    <a:pt x="2390471" y="1789175"/>
                  </a:lnTo>
                  <a:lnTo>
                    <a:pt x="2410358" y="1743455"/>
                  </a:lnTo>
                  <a:lnTo>
                    <a:pt x="2428542" y="1697735"/>
                  </a:lnTo>
                  <a:lnTo>
                    <a:pt x="2444984" y="1652015"/>
                  </a:lnTo>
                  <a:lnTo>
                    <a:pt x="2459642" y="1606295"/>
                  </a:lnTo>
                  <a:lnTo>
                    <a:pt x="2472476" y="1557527"/>
                  </a:lnTo>
                  <a:lnTo>
                    <a:pt x="2483447" y="1508759"/>
                  </a:lnTo>
                  <a:lnTo>
                    <a:pt x="2492513" y="1459991"/>
                  </a:lnTo>
                  <a:lnTo>
                    <a:pt x="2499635" y="1408175"/>
                  </a:lnTo>
                  <a:lnTo>
                    <a:pt x="2504772" y="1359407"/>
                  </a:lnTo>
                  <a:lnTo>
                    <a:pt x="2507884" y="1307591"/>
                  </a:lnTo>
                  <a:lnTo>
                    <a:pt x="2508930" y="1255775"/>
                  </a:lnTo>
                  <a:lnTo>
                    <a:pt x="2507884" y="1203959"/>
                  </a:lnTo>
                  <a:lnTo>
                    <a:pt x="2504772" y="1152143"/>
                  </a:lnTo>
                  <a:lnTo>
                    <a:pt x="2499635" y="1103375"/>
                  </a:lnTo>
                  <a:lnTo>
                    <a:pt x="2492513" y="1051559"/>
                  </a:lnTo>
                  <a:lnTo>
                    <a:pt x="2483447" y="1002791"/>
                  </a:lnTo>
                  <a:lnTo>
                    <a:pt x="2472476" y="954023"/>
                  </a:lnTo>
                  <a:lnTo>
                    <a:pt x="2462850" y="917447"/>
                  </a:lnTo>
                  <a:lnTo>
                    <a:pt x="2403301" y="917447"/>
                  </a:lnTo>
                  <a:lnTo>
                    <a:pt x="2390676" y="914399"/>
                  </a:lnTo>
                  <a:close/>
                </a:path>
                <a:path w="2509520" h="2508885">
                  <a:moveTo>
                    <a:pt x="252328" y="1844039"/>
                  </a:moveTo>
                  <a:lnTo>
                    <a:pt x="244985" y="1853183"/>
                  </a:lnTo>
                  <a:lnTo>
                    <a:pt x="237725" y="1865375"/>
                  </a:lnTo>
                  <a:lnTo>
                    <a:pt x="230566" y="1874519"/>
                  </a:lnTo>
                  <a:lnTo>
                    <a:pt x="223528" y="1886711"/>
                  </a:lnTo>
                  <a:lnTo>
                    <a:pt x="278848" y="1886711"/>
                  </a:lnTo>
                  <a:lnTo>
                    <a:pt x="275618" y="1880615"/>
                  </a:lnTo>
                  <a:lnTo>
                    <a:pt x="267699" y="1868423"/>
                  </a:lnTo>
                  <a:lnTo>
                    <a:pt x="259935" y="1856231"/>
                  </a:lnTo>
                  <a:lnTo>
                    <a:pt x="252328" y="1844039"/>
                  </a:lnTo>
                  <a:close/>
                </a:path>
                <a:path w="2509520" h="2508885">
                  <a:moveTo>
                    <a:pt x="1594274" y="48767"/>
                  </a:moveTo>
                  <a:lnTo>
                    <a:pt x="1336325" y="48767"/>
                  </a:lnTo>
                  <a:lnTo>
                    <a:pt x="1416702" y="57911"/>
                  </a:lnTo>
                  <a:lnTo>
                    <a:pt x="1495425" y="70103"/>
                  </a:lnTo>
                  <a:lnTo>
                    <a:pt x="1572311" y="88391"/>
                  </a:lnTo>
                  <a:lnTo>
                    <a:pt x="1647176" y="112775"/>
                  </a:lnTo>
                  <a:lnTo>
                    <a:pt x="1719838" y="140207"/>
                  </a:lnTo>
                  <a:lnTo>
                    <a:pt x="1790114" y="173735"/>
                  </a:lnTo>
                  <a:lnTo>
                    <a:pt x="1857821" y="210311"/>
                  </a:lnTo>
                  <a:lnTo>
                    <a:pt x="1922776" y="249935"/>
                  </a:lnTo>
                  <a:lnTo>
                    <a:pt x="1984796" y="292607"/>
                  </a:lnTo>
                  <a:lnTo>
                    <a:pt x="2043697" y="341375"/>
                  </a:lnTo>
                  <a:lnTo>
                    <a:pt x="2099298" y="393191"/>
                  </a:lnTo>
                  <a:lnTo>
                    <a:pt x="2151414" y="448055"/>
                  </a:lnTo>
                  <a:lnTo>
                    <a:pt x="2199863" y="509015"/>
                  </a:lnTo>
                  <a:lnTo>
                    <a:pt x="2244462" y="569975"/>
                  </a:lnTo>
                  <a:lnTo>
                    <a:pt x="2285028" y="633983"/>
                  </a:lnTo>
                  <a:lnTo>
                    <a:pt x="2321378" y="701039"/>
                  </a:lnTo>
                  <a:lnTo>
                    <a:pt x="2353329" y="771143"/>
                  </a:lnTo>
                  <a:lnTo>
                    <a:pt x="2380698" y="841247"/>
                  </a:lnTo>
                  <a:lnTo>
                    <a:pt x="2403301" y="917447"/>
                  </a:lnTo>
                  <a:lnTo>
                    <a:pt x="2462850" y="917447"/>
                  </a:lnTo>
                  <a:lnTo>
                    <a:pt x="2444984" y="859535"/>
                  </a:lnTo>
                  <a:lnTo>
                    <a:pt x="2428542" y="813815"/>
                  </a:lnTo>
                  <a:lnTo>
                    <a:pt x="2410358" y="768095"/>
                  </a:lnTo>
                  <a:lnTo>
                    <a:pt x="2390471" y="722375"/>
                  </a:lnTo>
                  <a:lnTo>
                    <a:pt x="2368922" y="679703"/>
                  </a:lnTo>
                  <a:lnTo>
                    <a:pt x="2345750" y="637031"/>
                  </a:lnTo>
                  <a:lnTo>
                    <a:pt x="2320998" y="594359"/>
                  </a:lnTo>
                  <a:lnTo>
                    <a:pt x="2294703" y="554735"/>
                  </a:lnTo>
                  <a:lnTo>
                    <a:pt x="2266908" y="515111"/>
                  </a:lnTo>
                  <a:lnTo>
                    <a:pt x="2237652" y="475487"/>
                  </a:lnTo>
                  <a:lnTo>
                    <a:pt x="2206976" y="438911"/>
                  </a:lnTo>
                  <a:lnTo>
                    <a:pt x="2174920" y="402335"/>
                  </a:lnTo>
                  <a:lnTo>
                    <a:pt x="2141524" y="368807"/>
                  </a:lnTo>
                  <a:lnTo>
                    <a:pt x="2106829" y="335279"/>
                  </a:lnTo>
                  <a:lnTo>
                    <a:pt x="2070876" y="301751"/>
                  </a:lnTo>
                  <a:lnTo>
                    <a:pt x="2033704" y="271271"/>
                  </a:lnTo>
                  <a:lnTo>
                    <a:pt x="1995354" y="243839"/>
                  </a:lnTo>
                  <a:lnTo>
                    <a:pt x="1955867" y="216407"/>
                  </a:lnTo>
                  <a:lnTo>
                    <a:pt x="1915282" y="188975"/>
                  </a:lnTo>
                  <a:lnTo>
                    <a:pt x="1873641" y="164591"/>
                  </a:lnTo>
                  <a:lnTo>
                    <a:pt x="1830983" y="140207"/>
                  </a:lnTo>
                  <a:lnTo>
                    <a:pt x="1787349" y="118871"/>
                  </a:lnTo>
                  <a:lnTo>
                    <a:pt x="1697313" y="82295"/>
                  </a:lnTo>
                  <a:lnTo>
                    <a:pt x="1650992" y="64007"/>
                  </a:lnTo>
                  <a:lnTo>
                    <a:pt x="1603856" y="51815"/>
                  </a:lnTo>
                  <a:lnTo>
                    <a:pt x="1594274" y="48767"/>
                  </a:lnTo>
                  <a:close/>
                </a:path>
              </a:pathLst>
            </a:custGeom>
            <a:solidFill>
              <a:srgbClr val="041E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1555528" y="1688309"/>
              <a:ext cx="2416810" cy="2416303"/>
            </a:xfrm>
            <a:custGeom>
              <a:avLst/>
              <a:gdLst/>
              <a:ahLst/>
              <a:cxnLst/>
              <a:rect l="l" t="t" r="r" b="b"/>
              <a:pathLst>
                <a:path w="2416810" h="2416810">
                  <a:moveTo>
                    <a:pt x="1208257" y="0"/>
                  </a:moveTo>
                  <a:lnTo>
                    <a:pt x="1109160" y="4005"/>
                  </a:lnTo>
                  <a:lnTo>
                    <a:pt x="1012269" y="15814"/>
                  </a:lnTo>
                  <a:lnTo>
                    <a:pt x="917896" y="35115"/>
                  </a:lnTo>
                  <a:lnTo>
                    <a:pt x="826351" y="61598"/>
                  </a:lnTo>
                  <a:lnTo>
                    <a:pt x="737945" y="94951"/>
                  </a:lnTo>
                  <a:lnTo>
                    <a:pt x="652989" y="134864"/>
                  </a:lnTo>
                  <a:lnTo>
                    <a:pt x="571795" y="181025"/>
                  </a:lnTo>
                  <a:lnTo>
                    <a:pt x="494672" y="233124"/>
                  </a:lnTo>
                  <a:lnTo>
                    <a:pt x="421933" y="290850"/>
                  </a:lnTo>
                  <a:lnTo>
                    <a:pt x="353887" y="353891"/>
                  </a:lnTo>
                  <a:lnTo>
                    <a:pt x="290846" y="421938"/>
                  </a:lnTo>
                  <a:lnTo>
                    <a:pt x="233121" y="494677"/>
                  </a:lnTo>
                  <a:lnTo>
                    <a:pt x="181022" y="571800"/>
                  </a:lnTo>
                  <a:lnTo>
                    <a:pt x="134861" y="652995"/>
                  </a:lnTo>
                  <a:lnTo>
                    <a:pt x="94949" y="737950"/>
                  </a:lnTo>
                  <a:lnTo>
                    <a:pt x="61596" y="826356"/>
                  </a:lnTo>
                  <a:lnTo>
                    <a:pt x="35114" y="917900"/>
                  </a:lnTo>
                  <a:lnTo>
                    <a:pt x="15813" y="1012272"/>
                  </a:lnTo>
                  <a:lnTo>
                    <a:pt x="4005" y="1109162"/>
                  </a:lnTo>
                  <a:lnTo>
                    <a:pt x="0" y="1208257"/>
                  </a:lnTo>
                  <a:lnTo>
                    <a:pt x="4005" y="1307357"/>
                  </a:lnTo>
                  <a:lnTo>
                    <a:pt x="15813" y="1404249"/>
                  </a:lnTo>
                  <a:lnTo>
                    <a:pt x="35114" y="1498624"/>
                  </a:lnTo>
                  <a:lnTo>
                    <a:pt x="61596" y="1590170"/>
                  </a:lnTo>
                  <a:lnTo>
                    <a:pt x="94949" y="1678577"/>
                  </a:lnTo>
                  <a:lnTo>
                    <a:pt x="134861" y="1763533"/>
                  </a:lnTo>
                  <a:lnTo>
                    <a:pt x="181022" y="1844728"/>
                  </a:lnTo>
                  <a:lnTo>
                    <a:pt x="233121" y="1921850"/>
                  </a:lnTo>
                  <a:lnTo>
                    <a:pt x="290846" y="1994589"/>
                  </a:lnTo>
                  <a:lnTo>
                    <a:pt x="353887" y="2062634"/>
                  </a:lnTo>
                  <a:lnTo>
                    <a:pt x="421933" y="2125675"/>
                  </a:lnTo>
                  <a:lnTo>
                    <a:pt x="494672" y="2183399"/>
                  </a:lnTo>
                  <a:lnTo>
                    <a:pt x="571795" y="2235496"/>
                  </a:lnTo>
                  <a:lnTo>
                    <a:pt x="652989" y="2281656"/>
                  </a:lnTo>
                  <a:lnTo>
                    <a:pt x="737945" y="2321568"/>
                  </a:lnTo>
                  <a:lnTo>
                    <a:pt x="826351" y="2354920"/>
                  </a:lnTo>
                  <a:lnTo>
                    <a:pt x="917896" y="2381401"/>
                  </a:lnTo>
                  <a:lnTo>
                    <a:pt x="1012269" y="2400701"/>
                  </a:lnTo>
                  <a:lnTo>
                    <a:pt x="1109160" y="2412510"/>
                  </a:lnTo>
                  <a:lnTo>
                    <a:pt x="1208257" y="2416515"/>
                  </a:lnTo>
                  <a:lnTo>
                    <a:pt x="1307351" y="2412510"/>
                  </a:lnTo>
                  <a:lnTo>
                    <a:pt x="1404239" y="2400701"/>
                  </a:lnTo>
                  <a:lnTo>
                    <a:pt x="1498610" y="2381401"/>
                  </a:lnTo>
                  <a:lnTo>
                    <a:pt x="1590153" y="2354920"/>
                  </a:lnTo>
                  <a:lnTo>
                    <a:pt x="1678557" y="2321568"/>
                  </a:lnTo>
                  <a:lnTo>
                    <a:pt x="1763511" y="2281656"/>
                  </a:lnTo>
                  <a:lnTo>
                    <a:pt x="1844705" y="2235496"/>
                  </a:lnTo>
                  <a:lnTo>
                    <a:pt x="1921827" y="2183399"/>
                  </a:lnTo>
                  <a:lnTo>
                    <a:pt x="1994567" y="2125675"/>
                  </a:lnTo>
                  <a:lnTo>
                    <a:pt x="2062612" y="2062634"/>
                  </a:lnTo>
                  <a:lnTo>
                    <a:pt x="2125653" y="1994589"/>
                  </a:lnTo>
                  <a:lnTo>
                    <a:pt x="2183379" y="1921850"/>
                  </a:lnTo>
                  <a:lnTo>
                    <a:pt x="2235478" y="1844728"/>
                  </a:lnTo>
                  <a:lnTo>
                    <a:pt x="2281639" y="1763533"/>
                  </a:lnTo>
                  <a:lnTo>
                    <a:pt x="2321551" y="1678577"/>
                  </a:lnTo>
                  <a:lnTo>
                    <a:pt x="2354905" y="1590170"/>
                  </a:lnTo>
                  <a:lnTo>
                    <a:pt x="2381387" y="1498624"/>
                  </a:lnTo>
                  <a:lnTo>
                    <a:pt x="2400688" y="1404249"/>
                  </a:lnTo>
                  <a:lnTo>
                    <a:pt x="2412497" y="1307357"/>
                  </a:lnTo>
                  <a:lnTo>
                    <a:pt x="2416503" y="1208257"/>
                  </a:lnTo>
                  <a:lnTo>
                    <a:pt x="2412497" y="1109162"/>
                  </a:lnTo>
                  <a:lnTo>
                    <a:pt x="2400688" y="1012272"/>
                  </a:lnTo>
                  <a:lnTo>
                    <a:pt x="2381387" y="917900"/>
                  </a:lnTo>
                  <a:lnTo>
                    <a:pt x="2354905" y="826356"/>
                  </a:lnTo>
                  <a:lnTo>
                    <a:pt x="2321551" y="737950"/>
                  </a:lnTo>
                  <a:lnTo>
                    <a:pt x="2281639" y="652995"/>
                  </a:lnTo>
                  <a:lnTo>
                    <a:pt x="2235478" y="571800"/>
                  </a:lnTo>
                  <a:lnTo>
                    <a:pt x="2183379" y="494677"/>
                  </a:lnTo>
                  <a:lnTo>
                    <a:pt x="2125653" y="421938"/>
                  </a:lnTo>
                  <a:lnTo>
                    <a:pt x="2062612" y="353891"/>
                  </a:lnTo>
                  <a:lnTo>
                    <a:pt x="1994567" y="290850"/>
                  </a:lnTo>
                  <a:lnTo>
                    <a:pt x="1921827" y="233124"/>
                  </a:lnTo>
                  <a:lnTo>
                    <a:pt x="1844705" y="181025"/>
                  </a:lnTo>
                  <a:lnTo>
                    <a:pt x="1763511" y="134864"/>
                  </a:lnTo>
                  <a:lnTo>
                    <a:pt x="1678557" y="94951"/>
                  </a:lnTo>
                  <a:lnTo>
                    <a:pt x="1590153" y="61598"/>
                  </a:lnTo>
                  <a:lnTo>
                    <a:pt x="1498610" y="35115"/>
                  </a:lnTo>
                  <a:lnTo>
                    <a:pt x="1404239" y="15814"/>
                  </a:lnTo>
                  <a:lnTo>
                    <a:pt x="1307351" y="4005"/>
                  </a:lnTo>
                  <a:lnTo>
                    <a:pt x="1208257" y="0"/>
                  </a:lnTo>
                  <a:close/>
                </a:path>
              </a:pathLst>
            </a:custGeom>
            <a:solidFill>
              <a:srgbClr val="B1CAE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1555529" y="1688309"/>
              <a:ext cx="2416175" cy="1873492"/>
            </a:xfrm>
            <a:custGeom>
              <a:avLst/>
              <a:gdLst/>
              <a:ahLst/>
              <a:cxnLst/>
              <a:rect l="l" t="t" r="r" b="b"/>
              <a:pathLst>
                <a:path w="2416175" h="1873885">
                  <a:moveTo>
                    <a:pt x="1208257" y="0"/>
                  </a:moveTo>
                  <a:lnTo>
                    <a:pt x="1109160" y="4005"/>
                  </a:lnTo>
                  <a:lnTo>
                    <a:pt x="1012269" y="15814"/>
                  </a:lnTo>
                  <a:lnTo>
                    <a:pt x="917896" y="35115"/>
                  </a:lnTo>
                  <a:lnTo>
                    <a:pt x="826351" y="61598"/>
                  </a:lnTo>
                  <a:lnTo>
                    <a:pt x="737945" y="94951"/>
                  </a:lnTo>
                  <a:lnTo>
                    <a:pt x="652989" y="134864"/>
                  </a:lnTo>
                  <a:lnTo>
                    <a:pt x="571795" y="181025"/>
                  </a:lnTo>
                  <a:lnTo>
                    <a:pt x="494672" y="233124"/>
                  </a:lnTo>
                  <a:lnTo>
                    <a:pt x="421933" y="290850"/>
                  </a:lnTo>
                  <a:lnTo>
                    <a:pt x="353887" y="353891"/>
                  </a:lnTo>
                  <a:lnTo>
                    <a:pt x="290846" y="421938"/>
                  </a:lnTo>
                  <a:lnTo>
                    <a:pt x="233121" y="494677"/>
                  </a:lnTo>
                  <a:lnTo>
                    <a:pt x="181022" y="571800"/>
                  </a:lnTo>
                  <a:lnTo>
                    <a:pt x="134861" y="652995"/>
                  </a:lnTo>
                  <a:lnTo>
                    <a:pt x="94949" y="737950"/>
                  </a:lnTo>
                  <a:lnTo>
                    <a:pt x="61596" y="826356"/>
                  </a:lnTo>
                  <a:lnTo>
                    <a:pt x="35114" y="917900"/>
                  </a:lnTo>
                  <a:lnTo>
                    <a:pt x="15813" y="1012272"/>
                  </a:lnTo>
                  <a:lnTo>
                    <a:pt x="4005" y="1109162"/>
                  </a:lnTo>
                  <a:lnTo>
                    <a:pt x="0" y="1208257"/>
                  </a:lnTo>
                  <a:lnTo>
                    <a:pt x="548" y="1245004"/>
                  </a:lnTo>
                  <a:lnTo>
                    <a:pt x="4886" y="1317662"/>
                  </a:lnTo>
                  <a:lnTo>
                    <a:pt x="13443" y="1389105"/>
                  </a:lnTo>
                  <a:lnTo>
                    <a:pt x="26094" y="1459206"/>
                  </a:lnTo>
                  <a:lnTo>
                    <a:pt x="42716" y="1527843"/>
                  </a:lnTo>
                  <a:lnTo>
                    <a:pt x="63183" y="1594891"/>
                  </a:lnTo>
                  <a:lnTo>
                    <a:pt x="87371" y="1660225"/>
                  </a:lnTo>
                  <a:lnTo>
                    <a:pt x="115156" y="1723722"/>
                  </a:lnTo>
                  <a:lnTo>
                    <a:pt x="146413" y="1785256"/>
                  </a:lnTo>
                  <a:lnTo>
                    <a:pt x="181018" y="1844703"/>
                  </a:lnTo>
                  <a:lnTo>
                    <a:pt x="199537" y="1873605"/>
                  </a:lnTo>
                  <a:lnTo>
                    <a:pt x="253478" y="1820877"/>
                  </a:lnTo>
                  <a:lnTo>
                    <a:pt x="312341" y="1766010"/>
                  </a:lnTo>
                  <a:lnTo>
                    <a:pt x="376302" y="1709660"/>
                  </a:lnTo>
                  <a:lnTo>
                    <a:pt x="445540" y="1652481"/>
                  </a:lnTo>
                  <a:lnTo>
                    <a:pt x="520230" y="1595130"/>
                  </a:lnTo>
                  <a:lnTo>
                    <a:pt x="600551" y="1538263"/>
                  </a:lnTo>
                  <a:lnTo>
                    <a:pt x="686679" y="1482534"/>
                  </a:lnTo>
                  <a:lnTo>
                    <a:pt x="778793" y="1428600"/>
                  </a:lnTo>
                  <a:lnTo>
                    <a:pt x="877070" y="1377115"/>
                  </a:lnTo>
                  <a:lnTo>
                    <a:pt x="981686" y="1328737"/>
                  </a:lnTo>
                  <a:lnTo>
                    <a:pt x="1092820" y="1284120"/>
                  </a:lnTo>
                  <a:lnTo>
                    <a:pt x="1210648" y="1243920"/>
                  </a:lnTo>
                  <a:lnTo>
                    <a:pt x="1335348" y="1208793"/>
                  </a:lnTo>
                  <a:lnTo>
                    <a:pt x="1467097" y="1179394"/>
                  </a:lnTo>
                  <a:lnTo>
                    <a:pt x="1606073" y="1156378"/>
                  </a:lnTo>
                  <a:lnTo>
                    <a:pt x="1752452" y="1140403"/>
                  </a:lnTo>
                  <a:lnTo>
                    <a:pt x="1906414" y="1132122"/>
                  </a:lnTo>
                  <a:lnTo>
                    <a:pt x="2413360" y="1132122"/>
                  </a:lnTo>
                  <a:lnTo>
                    <a:pt x="2408015" y="1064290"/>
                  </a:lnTo>
                  <a:lnTo>
                    <a:pt x="2393179" y="970810"/>
                  </a:lnTo>
                  <a:lnTo>
                    <a:pt x="2371338" y="879855"/>
                  </a:lnTo>
                  <a:lnTo>
                    <a:pt x="2342781" y="791715"/>
                  </a:lnTo>
                  <a:lnTo>
                    <a:pt x="2307797" y="706678"/>
                  </a:lnTo>
                  <a:lnTo>
                    <a:pt x="2266675" y="625033"/>
                  </a:lnTo>
                  <a:lnTo>
                    <a:pt x="2219703" y="547070"/>
                  </a:lnTo>
                  <a:lnTo>
                    <a:pt x="2167172" y="473076"/>
                  </a:lnTo>
                  <a:lnTo>
                    <a:pt x="2109369" y="403342"/>
                  </a:lnTo>
                  <a:lnTo>
                    <a:pt x="2046584" y="338156"/>
                  </a:lnTo>
                  <a:lnTo>
                    <a:pt x="1979105" y="277807"/>
                  </a:lnTo>
                  <a:lnTo>
                    <a:pt x="1907221" y="222583"/>
                  </a:lnTo>
                  <a:lnTo>
                    <a:pt x="1831222" y="172775"/>
                  </a:lnTo>
                  <a:lnTo>
                    <a:pt x="1751396" y="128670"/>
                  </a:lnTo>
                  <a:lnTo>
                    <a:pt x="1668032" y="90558"/>
                  </a:lnTo>
                  <a:lnTo>
                    <a:pt x="1581420" y="58727"/>
                  </a:lnTo>
                  <a:lnTo>
                    <a:pt x="1491847" y="33467"/>
                  </a:lnTo>
                  <a:lnTo>
                    <a:pt x="1399603" y="15067"/>
                  </a:lnTo>
                  <a:lnTo>
                    <a:pt x="1304977" y="3814"/>
                  </a:lnTo>
                  <a:lnTo>
                    <a:pt x="1208257" y="0"/>
                  </a:lnTo>
                  <a:close/>
                </a:path>
                <a:path w="2416175" h="1873885">
                  <a:moveTo>
                    <a:pt x="2413360" y="1132122"/>
                  </a:moveTo>
                  <a:lnTo>
                    <a:pt x="1906414" y="1132122"/>
                  </a:lnTo>
                  <a:lnTo>
                    <a:pt x="2068133" y="1132192"/>
                  </a:lnTo>
                  <a:lnTo>
                    <a:pt x="2237789" y="1141269"/>
                  </a:lnTo>
                  <a:lnTo>
                    <a:pt x="2415558" y="1160007"/>
                  </a:lnTo>
                  <a:lnTo>
                    <a:pt x="2413360" y="1132122"/>
                  </a:lnTo>
                  <a:close/>
                </a:path>
              </a:pathLst>
            </a:custGeom>
            <a:solidFill>
              <a:srgbClr val="92ADC5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1555541" y="1688309"/>
              <a:ext cx="2369185" cy="1838574"/>
            </a:xfrm>
            <a:custGeom>
              <a:avLst/>
              <a:gdLst/>
              <a:ahLst/>
              <a:cxnLst/>
              <a:rect l="l" t="t" r="r" b="b"/>
              <a:pathLst>
                <a:path w="2369185" h="1838960">
                  <a:moveTo>
                    <a:pt x="1208245" y="0"/>
                  </a:moveTo>
                  <a:lnTo>
                    <a:pt x="1109150" y="4005"/>
                  </a:lnTo>
                  <a:lnTo>
                    <a:pt x="1012261" y="15814"/>
                  </a:lnTo>
                  <a:lnTo>
                    <a:pt x="917889" y="35115"/>
                  </a:lnTo>
                  <a:lnTo>
                    <a:pt x="826345" y="61598"/>
                  </a:lnTo>
                  <a:lnTo>
                    <a:pt x="737940" y="94951"/>
                  </a:lnTo>
                  <a:lnTo>
                    <a:pt x="652985" y="134864"/>
                  </a:lnTo>
                  <a:lnTo>
                    <a:pt x="571791" y="181025"/>
                  </a:lnTo>
                  <a:lnTo>
                    <a:pt x="494670" y="233124"/>
                  </a:lnTo>
                  <a:lnTo>
                    <a:pt x="421931" y="290850"/>
                  </a:lnTo>
                  <a:lnTo>
                    <a:pt x="353885" y="353891"/>
                  </a:lnTo>
                  <a:lnTo>
                    <a:pt x="290845" y="421938"/>
                  </a:lnTo>
                  <a:lnTo>
                    <a:pt x="233120" y="494677"/>
                  </a:lnTo>
                  <a:lnTo>
                    <a:pt x="181022" y="571800"/>
                  </a:lnTo>
                  <a:lnTo>
                    <a:pt x="134861" y="652995"/>
                  </a:lnTo>
                  <a:lnTo>
                    <a:pt x="94949" y="737950"/>
                  </a:lnTo>
                  <a:lnTo>
                    <a:pt x="61596" y="826356"/>
                  </a:lnTo>
                  <a:lnTo>
                    <a:pt x="35114" y="917900"/>
                  </a:lnTo>
                  <a:lnTo>
                    <a:pt x="15813" y="1012272"/>
                  </a:lnTo>
                  <a:lnTo>
                    <a:pt x="4005" y="1109162"/>
                  </a:lnTo>
                  <a:lnTo>
                    <a:pt x="0" y="1208257"/>
                  </a:lnTo>
                  <a:lnTo>
                    <a:pt x="484" y="1242797"/>
                  </a:lnTo>
                  <a:lnTo>
                    <a:pt x="4317" y="1311144"/>
                  </a:lnTo>
                  <a:lnTo>
                    <a:pt x="11886" y="1378426"/>
                  </a:lnTo>
                  <a:lnTo>
                    <a:pt x="23087" y="1444541"/>
                  </a:lnTo>
                  <a:lnTo>
                    <a:pt x="37816" y="1509384"/>
                  </a:lnTo>
                  <a:lnTo>
                    <a:pt x="55971" y="1572853"/>
                  </a:lnTo>
                  <a:lnTo>
                    <a:pt x="77449" y="1634843"/>
                  </a:lnTo>
                  <a:lnTo>
                    <a:pt x="102146" y="1695252"/>
                  </a:lnTo>
                  <a:lnTo>
                    <a:pt x="129959" y="1753976"/>
                  </a:lnTo>
                  <a:lnTo>
                    <a:pt x="160785" y="1810911"/>
                  </a:lnTo>
                  <a:lnTo>
                    <a:pt x="177296" y="1838675"/>
                  </a:lnTo>
                  <a:lnTo>
                    <a:pt x="245634" y="1743398"/>
                  </a:lnTo>
                  <a:lnTo>
                    <a:pt x="322037" y="1651954"/>
                  </a:lnTo>
                  <a:lnTo>
                    <a:pt x="405885" y="1564527"/>
                  </a:lnTo>
                  <a:lnTo>
                    <a:pt x="496556" y="1481300"/>
                  </a:lnTo>
                  <a:lnTo>
                    <a:pt x="593429" y="1402457"/>
                  </a:lnTo>
                  <a:lnTo>
                    <a:pt x="695885" y="1328181"/>
                  </a:lnTo>
                  <a:lnTo>
                    <a:pt x="803301" y="1258656"/>
                  </a:lnTo>
                  <a:lnTo>
                    <a:pt x="915058" y="1194066"/>
                  </a:lnTo>
                  <a:lnTo>
                    <a:pt x="1030534" y="1134594"/>
                  </a:lnTo>
                  <a:lnTo>
                    <a:pt x="1149110" y="1080424"/>
                  </a:lnTo>
                  <a:lnTo>
                    <a:pt x="1270163" y="1031740"/>
                  </a:lnTo>
                  <a:lnTo>
                    <a:pt x="1393073" y="988724"/>
                  </a:lnTo>
                  <a:lnTo>
                    <a:pt x="1517221" y="951561"/>
                  </a:lnTo>
                  <a:lnTo>
                    <a:pt x="1641983" y="920435"/>
                  </a:lnTo>
                  <a:lnTo>
                    <a:pt x="1766741" y="895529"/>
                  </a:lnTo>
                  <a:lnTo>
                    <a:pt x="1890873" y="877026"/>
                  </a:lnTo>
                  <a:lnTo>
                    <a:pt x="2013759" y="865110"/>
                  </a:lnTo>
                  <a:lnTo>
                    <a:pt x="2134777" y="859965"/>
                  </a:lnTo>
                  <a:lnTo>
                    <a:pt x="2365220" y="859965"/>
                  </a:lnTo>
                  <a:lnTo>
                    <a:pt x="2344462" y="796310"/>
                  </a:lnTo>
                  <a:lnTo>
                    <a:pt x="2315596" y="724102"/>
                  </a:lnTo>
                  <a:lnTo>
                    <a:pt x="2282306" y="654274"/>
                  </a:lnTo>
                  <a:lnTo>
                    <a:pt x="2244765" y="586998"/>
                  </a:lnTo>
                  <a:lnTo>
                    <a:pt x="2203149" y="522451"/>
                  </a:lnTo>
                  <a:lnTo>
                    <a:pt x="2157630" y="460804"/>
                  </a:lnTo>
                  <a:lnTo>
                    <a:pt x="2108384" y="402234"/>
                  </a:lnTo>
                  <a:lnTo>
                    <a:pt x="2055584" y="346913"/>
                  </a:lnTo>
                  <a:lnTo>
                    <a:pt x="1999405" y="295017"/>
                  </a:lnTo>
                  <a:lnTo>
                    <a:pt x="1940021" y="246720"/>
                  </a:lnTo>
                  <a:lnTo>
                    <a:pt x="1877606" y="202195"/>
                  </a:lnTo>
                  <a:lnTo>
                    <a:pt x="1812335" y="161618"/>
                  </a:lnTo>
                  <a:lnTo>
                    <a:pt x="1744382" y="125161"/>
                  </a:lnTo>
                  <a:lnTo>
                    <a:pt x="1673921" y="93001"/>
                  </a:lnTo>
                  <a:lnTo>
                    <a:pt x="1601126" y="65310"/>
                  </a:lnTo>
                  <a:lnTo>
                    <a:pt x="1526172" y="42263"/>
                  </a:lnTo>
                  <a:lnTo>
                    <a:pt x="1449232" y="24034"/>
                  </a:lnTo>
                  <a:lnTo>
                    <a:pt x="1370482" y="10798"/>
                  </a:lnTo>
                  <a:lnTo>
                    <a:pt x="1290095" y="2728"/>
                  </a:lnTo>
                  <a:lnTo>
                    <a:pt x="1208245" y="0"/>
                  </a:lnTo>
                  <a:close/>
                </a:path>
                <a:path w="2369185" h="1838960">
                  <a:moveTo>
                    <a:pt x="2365220" y="859965"/>
                  </a:moveTo>
                  <a:lnTo>
                    <a:pt x="2134777" y="859965"/>
                  </a:lnTo>
                  <a:lnTo>
                    <a:pt x="2253307" y="861774"/>
                  </a:lnTo>
                  <a:lnTo>
                    <a:pt x="2368728" y="870722"/>
                  </a:lnTo>
                  <a:lnTo>
                    <a:pt x="2365220" y="8599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11"/>
            <p:cNvSpPr/>
            <p:nvPr/>
          </p:nvSpPr>
          <p:spPr>
            <a:xfrm>
              <a:off x="1584005" y="1880154"/>
              <a:ext cx="2344592" cy="202347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4472215" y="2175563"/>
              <a:ext cx="2969914" cy="877639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7607593" y="2238897"/>
              <a:ext cx="1499840" cy="770981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4203700" y="3145962"/>
              <a:ext cx="5257799" cy="21582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2299"/>
                </a:lnSpc>
              </a:pPr>
              <a:endParaRPr lang="ru-RU" sz="1750" b="1" spc="15" dirty="0" smtClean="0">
                <a:solidFill>
                  <a:srgbClr val="052044"/>
                </a:solidFill>
                <a:latin typeface="Calibri"/>
                <a:cs typeface="Calibri"/>
              </a:endParaRPr>
            </a:p>
            <a:p>
              <a:pPr marL="12700" marR="5080">
                <a:lnSpc>
                  <a:spcPct val="102299"/>
                </a:lnSpc>
              </a:pPr>
              <a:endParaRPr lang="ru-RU" sz="2400" b="1" spc="15" dirty="0" smtClean="0">
                <a:solidFill>
                  <a:srgbClr val="052044"/>
                </a:solidFill>
                <a:latin typeface="Calibri"/>
                <a:cs typeface="Calibri"/>
              </a:endParaRPr>
            </a:p>
            <a:p>
              <a:pPr marL="12700" marR="5080">
                <a:lnSpc>
                  <a:spcPct val="102299"/>
                </a:lnSpc>
              </a:pPr>
              <a:r>
                <a:rPr lang="ru-RU" sz="2400" b="1" spc="15" dirty="0" smtClean="0">
                  <a:solidFill>
                    <a:srgbClr val="052044"/>
                  </a:solidFill>
                  <a:latin typeface="Calibri"/>
                  <a:cs typeface="Calibri"/>
                </a:rPr>
                <a:t>Программа развития детского хоккея </a:t>
              </a:r>
            </a:p>
            <a:p>
              <a:pPr marL="12700" marR="5080">
                <a:lnSpc>
                  <a:spcPct val="102299"/>
                </a:lnSpc>
              </a:pPr>
              <a:r>
                <a:rPr lang="ru-RU" sz="2400" b="1" spc="15" dirty="0" smtClean="0">
                  <a:solidFill>
                    <a:srgbClr val="052044"/>
                  </a:solidFill>
                  <a:latin typeface="Calibri"/>
                  <a:cs typeface="Calibri"/>
                </a:rPr>
                <a:t>Благотворительного фонда</a:t>
              </a:r>
              <a:r>
                <a:rPr sz="2400" b="1" spc="5" dirty="0" smtClean="0">
                  <a:solidFill>
                    <a:srgbClr val="052044"/>
                  </a:solidFill>
                  <a:latin typeface="Calibri"/>
                  <a:cs typeface="Calibri"/>
                </a:rPr>
                <a:t> </a:t>
              </a:r>
              <a:endParaRPr lang="ru-RU" sz="2400" b="1" spc="5" dirty="0" smtClean="0">
                <a:solidFill>
                  <a:srgbClr val="052044"/>
                </a:solidFill>
                <a:latin typeface="Calibri"/>
                <a:cs typeface="Calibri"/>
              </a:endParaRPr>
            </a:p>
            <a:p>
              <a:pPr marL="12700" marR="5080">
                <a:lnSpc>
                  <a:spcPct val="102299"/>
                </a:lnSpc>
              </a:pPr>
              <a:r>
                <a:rPr sz="2400" b="1" dirty="0" smtClean="0">
                  <a:solidFill>
                    <a:srgbClr val="052044"/>
                  </a:solidFill>
                  <a:latin typeface="Calibri"/>
                  <a:cs typeface="Calibri"/>
                </a:rPr>
                <a:t>Е</a:t>
              </a:r>
              <a:r>
                <a:rPr sz="2400" b="1" spc="20" dirty="0" smtClean="0">
                  <a:solidFill>
                    <a:srgbClr val="052044"/>
                  </a:solidFill>
                  <a:latin typeface="Calibri"/>
                  <a:cs typeface="Calibri"/>
                </a:rPr>
                <a:t>лены</a:t>
              </a:r>
              <a:r>
                <a:rPr sz="2400" b="1" spc="5" dirty="0" smtClean="0">
                  <a:solidFill>
                    <a:srgbClr val="052044"/>
                  </a:solidFill>
                  <a:latin typeface="Calibri"/>
                  <a:cs typeface="Calibri"/>
                </a:rPr>
                <a:t> </a:t>
              </a:r>
              <a:r>
                <a:rPr sz="2400" b="1" spc="15" dirty="0">
                  <a:solidFill>
                    <a:srgbClr val="052044"/>
                  </a:solidFill>
                  <a:latin typeface="Calibri"/>
                  <a:cs typeface="Calibri"/>
                </a:rPr>
                <a:t>и</a:t>
              </a:r>
              <a:r>
                <a:rPr sz="2400" b="1" spc="5" dirty="0">
                  <a:solidFill>
                    <a:srgbClr val="052044"/>
                  </a:solidFill>
                  <a:latin typeface="Calibri"/>
                  <a:cs typeface="Calibri"/>
                </a:rPr>
                <a:t> </a:t>
              </a:r>
              <a:r>
                <a:rPr sz="2400" b="1" spc="-140" dirty="0">
                  <a:solidFill>
                    <a:srgbClr val="052044"/>
                  </a:solidFill>
                  <a:latin typeface="Calibri"/>
                  <a:cs typeface="Calibri"/>
                </a:rPr>
                <a:t>Г</a:t>
              </a:r>
              <a:r>
                <a:rPr sz="2400" b="1" spc="15" dirty="0">
                  <a:solidFill>
                    <a:srgbClr val="052044"/>
                  </a:solidFill>
                  <a:latin typeface="Calibri"/>
                  <a:cs typeface="Calibri"/>
                </a:rPr>
                <a:t>еннадия</a:t>
              </a:r>
              <a:r>
                <a:rPr sz="2400" b="1" spc="5" dirty="0">
                  <a:solidFill>
                    <a:srgbClr val="052044"/>
                  </a:solidFill>
                  <a:latin typeface="Calibri"/>
                  <a:cs typeface="Calibri"/>
                </a:rPr>
                <a:t> </a:t>
              </a:r>
              <a:r>
                <a:rPr sz="2400" b="1" spc="-80" dirty="0" smtClean="0">
                  <a:solidFill>
                    <a:srgbClr val="052044"/>
                  </a:solidFill>
                  <a:latin typeface="Calibri"/>
                  <a:cs typeface="Calibri"/>
                </a:rPr>
                <a:t>Т</a:t>
              </a:r>
              <a:r>
                <a:rPr sz="2400" b="1" spc="15" dirty="0" smtClean="0">
                  <a:solidFill>
                    <a:srgbClr val="052044"/>
                  </a:solidFill>
                  <a:latin typeface="Calibri"/>
                  <a:cs typeface="Calibri"/>
                </a:rPr>
                <a:t>имчен</a:t>
              </a:r>
              <a:r>
                <a:rPr sz="2400" b="1" spc="-20" dirty="0" smtClean="0">
                  <a:solidFill>
                    <a:srgbClr val="052044"/>
                  </a:solidFill>
                  <a:latin typeface="Calibri"/>
                  <a:cs typeface="Calibri"/>
                </a:rPr>
                <a:t>к</a:t>
              </a:r>
              <a:r>
                <a:rPr sz="2400" b="1" spc="15" dirty="0" smtClean="0">
                  <a:solidFill>
                    <a:srgbClr val="052044"/>
                  </a:solidFill>
                  <a:latin typeface="Calibri"/>
                  <a:cs typeface="Calibri"/>
                </a:rPr>
                <a:t>о</a:t>
              </a:r>
              <a:endParaRPr lang="ru-RU" sz="2400" b="1" spc="15" dirty="0" smtClean="0">
                <a:solidFill>
                  <a:srgbClr val="052044"/>
                </a:solidFill>
                <a:latin typeface="Calibri"/>
                <a:cs typeface="Calibri"/>
              </a:endParaRPr>
            </a:p>
            <a:p>
              <a:pPr marL="12700" marR="5080">
                <a:lnSpc>
                  <a:spcPct val="102299"/>
                </a:lnSpc>
              </a:pPr>
              <a:r>
                <a:rPr lang="ru-RU" sz="2400" b="1" spc="15" dirty="0" smtClean="0">
                  <a:solidFill>
                    <a:srgbClr val="052044"/>
                  </a:solidFill>
                  <a:latin typeface="Calibri"/>
                  <a:cs typeface="Calibri"/>
                </a:rPr>
                <a:t>в Республике Карелия, 2014-2018 гг.</a:t>
              </a:r>
              <a:endParaRPr sz="2400" dirty="0">
                <a:solidFill>
                  <a:srgbClr val="052044"/>
                </a:solidFill>
                <a:latin typeface="Calibri"/>
                <a:cs typeface="Calibri"/>
              </a:endParaRPr>
            </a:p>
          </p:txBody>
        </p:sp>
      </p:grpSp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2000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ОБЕСПЕЧЕНИЕ ДЕТСКИХ КОМАНД ХОККЕЙНОЙ ЭКИПИРОВКОЙ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40940" y="4424199"/>
            <a:ext cx="2751460" cy="123110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Сертификаты на форму за успешное выступление на турнирах получили </a:t>
            </a:r>
            <a:r>
              <a:rPr lang="ru-RU" b="1" dirty="0" smtClean="0"/>
              <a:t>19 </a:t>
            </a:r>
            <a:r>
              <a:rPr lang="ru-RU" dirty="0" smtClean="0"/>
              <a:t>команд.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420906" y="2498771"/>
            <a:ext cx="2751460" cy="147732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За годы реализации программы </a:t>
            </a:r>
            <a:r>
              <a:rPr lang="ru-RU" b="1" dirty="0" smtClean="0"/>
              <a:t>16</a:t>
            </a:r>
            <a:r>
              <a:rPr lang="ru-RU" dirty="0" smtClean="0"/>
              <a:t> команд получили форму от программы</a:t>
            </a:r>
          </a:p>
          <a:p>
            <a:pPr algn="ctr"/>
            <a:r>
              <a:rPr lang="ru-RU" dirty="0" smtClean="0"/>
              <a:t>«Добрый лёд»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768" y="2498771"/>
            <a:ext cx="5105400" cy="340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166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2000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Сотрудничество со СКА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20906" y="2400101"/>
            <a:ext cx="8003988" cy="92333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В сентябре 2017 г. в результате соглашения между ХК СКА и Минспортом Карелии была создана детская спортивная школа «СКА-Карелия»,</a:t>
            </a:r>
          </a:p>
          <a:p>
            <a:pPr algn="ctr"/>
            <a:r>
              <a:rPr lang="ru-RU" dirty="0" smtClean="0"/>
              <a:t>вошедшая в систему Академии СК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9100" y="3475831"/>
            <a:ext cx="3925794" cy="260867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907" y="3475831"/>
            <a:ext cx="3925794" cy="260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34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2000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Истории Успеха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873750" y="2400101"/>
            <a:ext cx="3925795" cy="147732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Благодаря деятельности Фонда «Мельница» в Пряже возродился детский хоккей, и на территории </a:t>
            </a:r>
            <a:r>
              <a:rPr lang="ru-RU" dirty="0"/>
              <a:t>поселка за последние 20 </a:t>
            </a:r>
            <a:r>
              <a:rPr lang="ru-RU" dirty="0" smtClean="0"/>
              <a:t>лет впервые прошел турнир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15"/>
          <a:stretch/>
        </p:blipFill>
        <p:spPr>
          <a:xfrm>
            <a:off x="5873750" y="4009231"/>
            <a:ext cx="3975101" cy="19421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776" y="2400101"/>
            <a:ext cx="2271224" cy="340683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584129" y="2400101"/>
            <a:ext cx="2400372" cy="23083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Клуб «Шуйские соколы» существенно улучшил хоккейную инфраструктуру поселка Шуя и увеличил количество детей, занимающихся хоккеем</a:t>
            </a:r>
          </a:p>
        </p:txBody>
      </p:sp>
    </p:spTree>
    <p:extLst>
      <p:ext uri="{BB962C8B-B14F-4D97-AF65-F5344CB8AC3E}">
        <p14:creationId xmlns:p14="http://schemas.microsoft.com/office/powerpoint/2010/main" val="368918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2000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В Планах на 2018/2019 год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81063" y="2525286"/>
            <a:ext cx="3632238" cy="34778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dirty="0" smtClean="0"/>
              <a:t>• </a:t>
            </a:r>
            <a:r>
              <a:rPr lang="ru-RU" sz="2000" dirty="0" smtClean="0"/>
              <a:t>Третий  хоккейный турнир «ДвижОК» в Пряже</a:t>
            </a:r>
          </a:p>
          <a:p>
            <a:endParaRPr lang="ru-RU" sz="2000" dirty="0" smtClean="0"/>
          </a:p>
          <a:p>
            <a:r>
              <a:rPr lang="ru-RU" sz="2000" dirty="0" smtClean="0"/>
              <a:t>• Фестиваль «Люблю папу, маму и хоккей» в Медвежьегорске</a:t>
            </a:r>
          </a:p>
          <a:p>
            <a:endParaRPr lang="ru-RU" sz="2000" dirty="0" smtClean="0"/>
          </a:p>
          <a:p>
            <a:r>
              <a:rPr lang="ru-RU" sz="2000" dirty="0" smtClean="0"/>
              <a:t>• Конкурс грантов</a:t>
            </a:r>
          </a:p>
          <a:p>
            <a:endParaRPr lang="ru-RU" sz="2000" dirty="0" smtClean="0"/>
          </a:p>
          <a:p>
            <a:r>
              <a:rPr lang="ru-RU" sz="2000" dirty="0" smtClean="0"/>
              <a:t>• Экипировка и инвентарь для  детских команд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900" y="2525530"/>
            <a:ext cx="4293117" cy="2862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007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807544" y="2529694"/>
            <a:ext cx="9143296" cy="835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defTabSz="457200">
              <a:spcBef>
                <a:spcPts val="1000"/>
              </a:spcBef>
              <a:buClr>
                <a:srgbClr val="365B9D"/>
              </a:buClr>
              <a:buSzPct val="100000"/>
              <a:buFont typeface="Arial" panose="020B0604020202020204" pitchFamily="34" charset="0"/>
              <a:buChar char="•"/>
              <a:defRPr sz="1800" b="0"/>
            </a:pPr>
            <a:endParaRPr lang="ru-RU" sz="2000" b="0" dirty="0" smtClean="0">
              <a:solidFill>
                <a:srgbClr val="535353"/>
              </a:solidFill>
              <a:latin typeface="Calibri Light"/>
              <a:ea typeface="Calibri Light"/>
              <a:cs typeface="Calibri Light"/>
            </a:endParaRPr>
          </a:p>
          <a:p>
            <a:pPr marL="200526" indent="-200526" algn="l" defTabSz="457200">
              <a:spcBef>
                <a:spcPts val="1000"/>
              </a:spcBef>
              <a:buClr>
                <a:srgbClr val="365B9D"/>
              </a:buClr>
              <a:buSzPct val="100000"/>
              <a:buFont typeface="Arial"/>
              <a:buChar char="•"/>
              <a:defRPr sz="1800" b="0"/>
            </a:pPr>
            <a:endParaRPr lang="ru-RU" sz="2000" b="0" dirty="0">
              <a:solidFill>
                <a:srgbClr val="535353"/>
              </a:solidFill>
              <a:latin typeface="Calibri Light"/>
              <a:ea typeface="Calibri Light"/>
              <a:cs typeface="Calibri Ligh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07544" y="3265004"/>
            <a:ext cx="944364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6600" dirty="0">
                <a:solidFill>
                  <a:srgbClr val="1B195E"/>
                </a:solidFill>
                <a:latin typeface="Calibri Light"/>
                <a:cs typeface="Calibri Light"/>
              </a:rPr>
              <a:t>Спасибо за </a:t>
            </a:r>
            <a:r>
              <a:rPr lang="ru-RU" sz="6600" dirty="0" smtClean="0">
                <a:solidFill>
                  <a:srgbClr val="1B195E"/>
                </a:solidFill>
                <a:latin typeface="Calibri Light"/>
                <a:cs typeface="Calibri Light"/>
              </a:rPr>
              <a:t>внимание!</a:t>
            </a:r>
          </a:p>
          <a:p>
            <a:pPr algn="ctr"/>
            <a:endParaRPr lang="ru-RU" dirty="0" smtClean="0">
              <a:solidFill>
                <a:srgbClr val="1B195E"/>
              </a:solidFill>
              <a:latin typeface="Calibri Light"/>
              <a:cs typeface="Calibri Light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19" name="Прямоугольник 18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3789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3499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Программа «Добрый лёд» и Карелия — 5 лет вместе!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514" y="2459296"/>
            <a:ext cx="4597400" cy="3060144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6104600" y="2488555"/>
            <a:ext cx="3429000" cy="2640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15000"/>
              </a:lnSpc>
            </a:pP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к всё начиналось</a:t>
            </a:r>
          </a:p>
          <a:p>
            <a:pPr indent="450215" algn="just">
              <a:lnSpc>
                <a:spcPct val="115000"/>
              </a:lnSpc>
            </a:pP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15000"/>
              </a:lnSpc>
            </a:pP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 2014 года Республика Карелия была включена в программу «Добрый лёд» и с тех пор является одним из ключевых регионов программы, активно участвует во всех ее компонентах.</a:t>
            </a:r>
          </a:p>
          <a:p>
            <a:pPr indent="450215" algn="just">
              <a:lnSpc>
                <a:spcPct val="115000"/>
              </a:lnSpc>
            </a:pP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934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3499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b="0" cap="all" dirty="0" smtClean="0">
                <a:solidFill>
                  <a:srgbClr val="052044"/>
                </a:solidFill>
                <a:latin typeface="Calibri"/>
                <a:ea typeface="Calibri"/>
                <a:cs typeface="Calibri"/>
                <a:sym typeface="Calibri"/>
              </a:rPr>
              <a:t>Результаты Реализации программы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33150" y="2584506"/>
            <a:ext cx="4273550" cy="28315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/>
              <a:t>За время реализации </a:t>
            </a:r>
            <a:r>
              <a:rPr lang="ru-RU" sz="1400" dirty="0"/>
              <a:t>мероприятий программы «Добрый </a:t>
            </a:r>
            <a:r>
              <a:rPr lang="ru-RU" sz="1400" dirty="0" smtClean="0"/>
              <a:t>лёд</a:t>
            </a:r>
            <a:r>
              <a:rPr lang="ru-RU" sz="1400" dirty="0"/>
              <a:t>» </a:t>
            </a:r>
            <a:r>
              <a:rPr lang="ru-RU" sz="1400" dirty="0" smtClean="0"/>
              <a:t>численность </a:t>
            </a:r>
            <a:r>
              <a:rPr lang="ru-RU" sz="1400" dirty="0"/>
              <a:t>регулярно занимающихся хоккеем в Республике </a:t>
            </a:r>
            <a:r>
              <a:rPr lang="ru-RU" sz="1400" dirty="0" smtClean="0"/>
              <a:t>Карелии </a:t>
            </a:r>
            <a:r>
              <a:rPr lang="ru-RU" sz="1400" b="1" dirty="0"/>
              <a:t>возросла на 37 процентов по сравнению с 2013 </a:t>
            </a:r>
            <a:r>
              <a:rPr lang="ru-RU" sz="1400" b="1" dirty="0" smtClean="0"/>
              <a:t>годом.</a:t>
            </a:r>
          </a:p>
          <a:p>
            <a:endParaRPr lang="ru-RU" sz="1200" dirty="0" smtClean="0"/>
          </a:p>
          <a:p>
            <a:r>
              <a:rPr lang="ru-RU" sz="1400" dirty="0" smtClean="0"/>
              <a:t>В ДЮСШ Карелии </a:t>
            </a:r>
            <a:r>
              <a:rPr lang="ru-RU" sz="1400" b="1" dirty="0"/>
              <a:t>создано 3 новых отделения хоккея.</a:t>
            </a:r>
            <a:r>
              <a:rPr lang="ru-RU" sz="1400" dirty="0"/>
              <a:t> Численность занимающихся хоккеем с шайбой в ДЮСШ Республики </a:t>
            </a:r>
            <a:r>
              <a:rPr lang="ru-RU" sz="1400" dirty="0" smtClean="0"/>
              <a:t>Карелии </a:t>
            </a:r>
            <a:r>
              <a:rPr lang="ru-RU" sz="1400" b="1" dirty="0"/>
              <a:t>возросла по сравнению с 2013 годом </a:t>
            </a:r>
            <a:r>
              <a:rPr lang="ru-RU" sz="1400" b="1" dirty="0" smtClean="0"/>
              <a:t>на </a:t>
            </a:r>
            <a:r>
              <a:rPr lang="ru-RU" sz="1400" b="1" dirty="0"/>
              <a:t>49 </a:t>
            </a:r>
            <a:r>
              <a:rPr lang="ru-RU" sz="1400" b="1" dirty="0" smtClean="0"/>
              <a:t>процентов.</a:t>
            </a:r>
          </a:p>
          <a:p>
            <a:endParaRPr lang="ru-RU" sz="1200" dirty="0" smtClean="0"/>
          </a:p>
          <a:p>
            <a:r>
              <a:rPr lang="ru-RU" sz="1400" b="1" dirty="0" smtClean="0"/>
              <a:t>Более </a:t>
            </a:r>
            <a:r>
              <a:rPr lang="ru-RU" sz="1400" b="1" dirty="0"/>
              <a:t>чем в 2 раза увеличилось </a:t>
            </a:r>
            <a:r>
              <a:rPr lang="ru-RU" sz="1400" dirty="0"/>
              <a:t>количество штатных тренеров-преподавателей по хоккею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300" y="2584634"/>
            <a:ext cx="4751509" cy="2433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459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2000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ПОДГОТОВКА ТРЕНЕРСКИХ КАДРОВ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46100" y="2394590"/>
            <a:ext cx="4751200" cy="28931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endParaRPr lang="ru-RU" sz="1400" b="1" dirty="0" smtClean="0"/>
          </a:p>
          <a:p>
            <a:endParaRPr lang="ru-RU" sz="1400" b="1" dirty="0" smtClean="0"/>
          </a:p>
          <a:p>
            <a:endParaRPr lang="ru-RU" sz="1400" b="1" dirty="0"/>
          </a:p>
          <a:p>
            <a:r>
              <a:rPr lang="ru-RU" b="1" dirty="0" smtClean="0"/>
              <a:t>ВШТ </a:t>
            </a:r>
            <a:r>
              <a:rPr lang="ru-RU" b="1" dirty="0"/>
              <a:t>им. Н. Г. </a:t>
            </a:r>
            <a:r>
              <a:rPr lang="ru-RU" b="1" dirty="0" err="1"/>
              <a:t>Пучкова</a:t>
            </a:r>
            <a:r>
              <a:rPr lang="ru-RU" b="1" dirty="0"/>
              <a:t> закончило 6 выпускников из Республики Карелии.</a:t>
            </a:r>
          </a:p>
          <a:p>
            <a:endParaRPr lang="ru-RU" dirty="0"/>
          </a:p>
          <a:p>
            <a:endParaRPr lang="ru-RU" b="1" dirty="0" smtClean="0"/>
          </a:p>
          <a:p>
            <a:r>
              <a:rPr lang="ru-RU" b="1" dirty="0" smtClean="0"/>
              <a:t>Количество </a:t>
            </a:r>
            <a:r>
              <a:rPr lang="ru-RU" b="1" dirty="0"/>
              <a:t>слушателей из Республики Карелии, прошедших курсы повышения квалификации, составляет 27 человек.</a:t>
            </a:r>
          </a:p>
          <a:p>
            <a:endParaRPr lang="ru-RU" sz="14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1100" y="2402971"/>
            <a:ext cx="2498970" cy="295046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613400" y="5353435"/>
            <a:ext cx="4191000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ото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дин из лучших выпускников</a:t>
            </a:r>
          </a:p>
          <a:p>
            <a:pPr algn="just">
              <a:lnSpc>
                <a:spcPct val="115000"/>
              </a:lnSpc>
            </a:pP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 набора ВШТ Александр Богатырев,</a:t>
            </a:r>
          </a:p>
          <a:p>
            <a:pPr algn="just">
              <a:lnSpc>
                <a:spcPct val="115000"/>
              </a:lnSpc>
            </a:pP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ыне тренер в клубе «СКА-Карелия»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5748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1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3499"/>
            <a:ext cx="90760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dirty="0" smtClean="0">
                <a:solidFill>
                  <a:srgbClr val="052044"/>
                </a:solidFill>
                <a:latin typeface="Calibri"/>
                <a:ea typeface="Calibri"/>
                <a:cs typeface="Calibri"/>
                <a:sym typeface="Calibri"/>
              </a:rPr>
              <a:t>ТУРНИРЫ </a:t>
            </a:r>
            <a:endParaRPr lang="ru-RU" sz="2400" b="0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74700" y="2469000"/>
            <a:ext cx="48850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урнир памяти Е. Д. </a:t>
            </a:r>
            <a:r>
              <a:rPr lang="ru-RU" dirty="0" err="1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Мишакова</a:t>
            </a:r>
            <a:endParaRPr lang="ru-RU" dirty="0" smtClean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(</a:t>
            </a:r>
            <a:r>
              <a:rPr lang="ru-RU" dirty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г. </a:t>
            </a:r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етрозаводск), 2014 год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98" y="3212948"/>
            <a:ext cx="2959102" cy="1972734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4197899" y="2485014"/>
            <a:ext cx="58732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урнир «Луми» (г</a:t>
            </a:r>
            <a:r>
              <a:rPr lang="ru-RU" dirty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. </a:t>
            </a:r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етрозаводск), 2014 год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099" y="3216432"/>
            <a:ext cx="4501601" cy="300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08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13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3499"/>
            <a:ext cx="90760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dirty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ТУРНИРЫ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920822" y="3118022"/>
            <a:ext cx="32455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урнир «Отечества достойные сыны</a:t>
            </a:r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», г. Сегежа, 2017 г.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413500" y="2296100"/>
            <a:ext cx="3962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урнир </a:t>
            </a:r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«</a:t>
            </a:r>
            <a:r>
              <a:rPr lang="ru-RU" dirty="0" err="1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ДвижОК</a:t>
            </a:r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»,</a:t>
            </a:r>
            <a:endParaRPr lang="en-US" dirty="0" smtClean="0"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algn="ctr"/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ос. Пряжа, 2017 г.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454124" y="2529263"/>
            <a:ext cx="332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урнир им. Валерия Харламова</a:t>
            </a:r>
          </a:p>
          <a:p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(г. Петрозаводск)</a:t>
            </a:r>
            <a:r>
              <a:rPr lang="ru-RU" dirty="0" smtClean="0"/>
              <a:t>, 2015 г.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00" y="3349001"/>
            <a:ext cx="3374722" cy="165969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025" y="3780000"/>
            <a:ext cx="4014616" cy="182626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33"/>
          <a:stretch/>
        </p:blipFill>
        <p:spPr>
          <a:xfrm>
            <a:off x="7127280" y="2942430"/>
            <a:ext cx="2943819" cy="294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664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13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3499"/>
            <a:ext cx="90760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spc="-100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УЧАСТИЕ В ТУРНИРАХ ПРОГРАММЫ «ДОБРЫЙ ЛЁД»</a:t>
            </a:r>
            <a:endParaRPr lang="ru-RU" sz="2400" spc="-100" dirty="0">
              <a:solidFill>
                <a:srgbClr val="052044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22300" y="2524337"/>
            <a:ext cx="5715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Турнир </a:t>
            </a:r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«Всегда первые!», г. Псков, 2015 г., 2017 г.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613400" y="3052730"/>
            <a:ext cx="4800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«Хоккейный уик-энд в Стрельне», СПб, 2017 г.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700" y="2925051"/>
            <a:ext cx="4724400" cy="314883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580" y="3409446"/>
            <a:ext cx="4206240" cy="2804160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5803900" y="2469149"/>
            <a:ext cx="431292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Команды регулярно </a:t>
            </a:r>
            <a:r>
              <a:rPr lang="ru-RU" sz="1400" dirty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принимают </a:t>
            </a:r>
            <a:r>
              <a:rPr lang="ru-RU" sz="1400" dirty="0" smtClean="0">
                <a:latin typeface="Calibri" panose="020F0502020204030204" pitchFamily="34" charset="0"/>
                <a:ea typeface="SimSun" panose="02010600030101010101" pitchFamily="2" charset="-122"/>
                <a:cs typeface="Times New Roman" panose="02020603050405020304" pitchFamily="18" charset="0"/>
              </a:rPr>
              <a:t>участие в турнирах программы «Добрый лёд» в других регионах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060560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774700" y="2485231"/>
            <a:ext cx="3962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• </a:t>
            </a:r>
            <a:r>
              <a:rPr lang="ru-RU" sz="1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естивали, посвященные Дню защитника Отечества (пос. </a:t>
            </a:r>
            <a:r>
              <a:rPr lang="ru-RU" sz="1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Шуя, 2017 г.)</a:t>
            </a:r>
            <a:endParaRPr lang="ru-RU" sz="1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3499"/>
            <a:ext cx="90760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dirty="0" smtClean="0">
                <a:solidFill>
                  <a:srgbClr val="052044"/>
                </a:solidFill>
                <a:latin typeface="Calibri"/>
                <a:ea typeface="Calibri"/>
                <a:cs typeface="Calibri"/>
                <a:sym typeface="Calibri"/>
              </a:rPr>
              <a:t>СЕМЕЙНЫЕ ХОККЕЙНЫЕ ФЕСТИВАЛИ</a:t>
            </a:r>
            <a:endParaRPr lang="ru-RU" sz="2400" b="0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727700" y="2485231"/>
            <a:ext cx="36253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• Хоккейные фестивали «Люблю папу, маму и хоккей», проводятся при поддержке ФХР. В 2017 году такой фестиваль прошел в с. Ведлозеро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9285" y="1705456"/>
            <a:ext cx="1148810" cy="155954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949" y="3083064"/>
            <a:ext cx="4541651" cy="302207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178" y="3467508"/>
            <a:ext cx="3516843" cy="2637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425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0692000" cy="75600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3"/>
          <p:cNvSpPr/>
          <p:nvPr/>
        </p:nvSpPr>
        <p:spPr>
          <a:xfrm>
            <a:off x="375199" y="1617663"/>
            <a:ext cx="10000701" cy="4677568"/>
          </a:xfrm>
          <a:custGeom>
            <a:avLst/>
            <a:gdLst/>
            <a:ahLst/>
            <a:cxnLst/>
            <a:rect l="l" t="t" r="r" b="b"/>
            <a:pathLst>
              <a:path w="9784715" h="3698240">
                <a:moveTo>
                  <a:pt x="9496290" y="0"/>
                </a:moveTo>
                <a:lnTo>
                  <a:pt x="288002" y="0"/>
                </a:lnTo>
                <a:lnTo>
                  <a:pt x="264382" y="954"/>
                </a:lnTo>
                <a:lnTo>
                  <a:pt x="218792" y="8369"/>
                </a:lnTo>
                <a:lnTo>
                  <a:pt x="175899" y="22630"/>
                </a:lnTo>
                <a:lnTo>
                  <a:pt x="136296" y="43145"/>
                </a:lnTo>
                <a:lnTo>
                  <a:pt x="100574" y="69320"/>
                </a:lnTo>
                <a:lnTo>
                  <a:pt x="69328" y="100563"/>
                </a:lnTo>
                <a:lnTo>
                  <a:pt x="43149" y="136281"/>
                </a:lnTo>
                <a:lnTo>
                  <a:pt x="22633" y="175881"/>
                </a:lnTo>
                <a:lnTo>
                  <a:pt x="8370" y="218771"/>
                </a:lnTo>
                <a:lnTo>
                  <a:pt x="954" y="264356"/>
                </a:lnTo>
                <a:lnTo>
                  <a:pt x="0" y="287975"/>
                </a:lnTo>
                <a:lnTo>
                  <a:pt x="0" y="3410254"/>
                </a:lnTo>
                <a:lnTo>
                  <a:pt x="3769" y="3456967"/>
                </a:lnTo>
                <a:lnTo>
                  <a:pt x="14682" y="3501280"/>
                </a:lnTo>
                <a:lnTo>
                  <a:pt x="32146" y="3542600"/>
                </a:lnTo>
                <a:lnTo>
                  <a:pt x="55568" y="3580335"/>
                </a:lnTo>
                <a:lnTo>
                  <a:pt x="84354" y="3613892"/>
                </a:lnTo>
                <a:lnTo>
                  <a:pt x="117913" y="3642678"/>
                </a:lnTo>
                <a:lnTo>
                  <a:pt x="155649" y="3666099"/>
                </a:lnTo>
                <a:lnTo>
                  <a:pt x="196972" y="3683562"/>
                </a:lnTo>
                <a:lnTo>
                  <a:pt x="241287" y="3694475"/>
                </a:lnTo>
                <a:lnTo>
                  <a:pt x="288002" y="3698244"/>
                </a:lnTo>
                <a:lnTo>
                  <a:pt x="9496290" y="3698244"/>
                </a:lnTo>
                <a:lnTo>
                  <a:pt x="9543002" y="3694475"/>
                </a:lnTo>
                <a:lnTo>
                  <a:pt x="9587316" y="3683562"/>
                </a:lnTo>
                <a:lnTo>
                  <a:pt x="9628638" y="3666099"/>
                </a:lnTo>
                <a:lnTo>
                  <a:pt x="9666375" y="3642678"/>
                </a:lnTo>
                <a:lnTo>
                  <a:pt x="9699935" y="3613892"/>
                </a:lnTo>
                <a:lnTo>
                  <a:pt x="9728723" y="3580335"/>
                </a:lnTo>
                <a:lnTo>
                  <a:pt x="9752146" y="3542600"/>
                </a:lnTo>
                <a:lnTo>
                  <a:pt x="9769611" y="3501280"/>
                </a:lnTo>
                <a:lnTo>
                  <a:pt x="9780526" y="3456967"/>
                </a:lnTo>
                <a:lnTo>
                  <a:pt x="9784296" y="3410254"/>
                </a:lnTo>
                <a:lnTo>
                  <a:pt x="9784296" y="287975"/>
                </a:lnTo>
                <a:lnTo>
                  <a:pt x="9780526" y="241263"/>
                </a:lnTo>
                <a:lnTo>
                  <a:pt x="9769611" y="196952"/>
                </a:lnTo>
                <a:lnTo>
                  <a:pt x="9752146" y="155633"/>
                </a:lnTo>
                <a:lnTo>
                  <a:pt x="9728723" y="117900"/>
                </a:lnTo>
                <a:lnTo>
                  <a:pt x="9699935" y="84345"/>
                </a:lnTo>
                <a:lnTo>
                  <a:pt x="9666375" y="55562"/>
                </a:lnTo>
                <a:lnTo>
                  <a:pt x="9628638" y="32143"/>
                </a:lnTo>
                <a:lnTo>
                  <a:pt x="9587316" y="14681"/>
                </a:lnTo>
                <a:lnTo>
                  <a:pt x="9543002" y="3769"/>
                </a:lnTo>
                <a:lnTo>
                  <a:pt x="94962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24" y="6431400"/>
            <a:ext cx="2301776" cy="71984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93699" y="561362"/>
            <a:ext cx="2362200" cy="1058410"/>
            <a:chOff x="393699" y="561362"/>
            <a:chExt cx="2362200" cy="105841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744" b="25041"/>
            <a:stretch/>
          </p:blipFill>
          <p:spPr>
            <a:xfrm>
              <a:off x="393699" y="561362"/>
              <a:ext cx="2204009" cy="1058410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1437703" y="1316915"/>
              <a:ext cx="1318196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457200">
                <a:spcBef>
                  <a:spcPts val="2000"/>
                </a:spcBef>
                <a:buSzPct val="70000"/>
                <a:defRPr sz="1800" b="0"/>
              </a:pPr>
              <a:r>
                <a:rPr lang="ru-RU" sz="1050" b="0" dirty="0" smtClean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r>
                <a:rPr lang="en-US" sz="1050" b="1" dirty="0" smtClean="0">
                  <a:latin typeface="Calibri"/>
                  <a:ea typeface="Calibri"/>
                  <a:cs typeface="Calibri"/>
                  <a:sym typeface="Calibri"/>
                </a:rPr>
                <a:t>www.dobroled.ru</a:t>
              </a:r>
              <a:endParaRPr lang="ru-RU" sz="1050" b="1" dirty="0">
                <a:solidFill>
                  <a:srgbClr val="535353"/>
                </a:solidFill>
                <a:latin typeface="Calibri Light"/>
                <a:ea typeface="Calibri Light"/>
                <a:cs typeface="Calibri Light"/>
                <a:sym typeface="Calibri"/>
              </a:endParaRPr>
            </a:p>
          </p:txBody>
        </p:sp>
      </p:grpSp>
      <p:sp>
        <p:nvSpPr>
          <p:cNvPr id="28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8839" y="1962000"/>
            <a:ext cx="93046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68245" indent="-166659" algn="ctr" defTabSz="1041216">
              <a:buSzPct val="120000"/>
              <a:defRPr sz="1800"/>
            </a:pP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конкурс </a:t>
            </a:r>
            <a:r>
              <a:rPr lang="ru-RU" sz="2400" cap="all" dirty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проектов развития детского хоккея «Добрый лёд</a:t>
            </a:r>
            <a:r>
              <a:rPr lang="ru-RU" sz="2400" cap="all" dirty="0" smtClean="0">
                <a:solidFill>
                  <a:srgbClr val="052044"/>
                </a:solidFill>
                <a:ea typeface="Calibri"/>
                <a:cs typeface="Calibri"/>
                <a:sym typeface="Calibri"/>
              </a:rPr>
              <a:t>»</a:t>
            </a:r>
            <a:endParaRPr lang="ru-RU" sz="2400" b="0" cap="all" dirty="0">
              <a:solidFill>
                <a:srgbClr val="05204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31899" y="2390663"/>
            <a:ext cx="8607711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На конкурсной основе Республика Карелия </a:t>
            </a:r>
            <a:r>
              <a:rPr lang="ru-RU" sz="1400" b="1" dirty="0" smtClean="0"/>
              <a:t>получила 16 грантов </a:t>
            </a:r>
            <a:r>
              <a:rPr lang="ru-RU" sz="1400" dirty="0" smtClean="0"/>
              <a:t>на развитие детского хоккея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239683" y="2806252"/>
            <a:ext cx="8599927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Лучшие проекты:</a:t>
            </a:r>
            <a:endParaRPr lang="ru-RU" sz="1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521" y="3171031"/>
            <a:ext cx="3651089" cy="243406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188520" y="5610640"/>
            <a:ext cx="3651089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Турнир </a:t>
            </a:r>
            <a:r>
              <a:rPr lang="ru-RU" sz="1400" dirty="0"/>
              <a:t>«</a:t>
            </a:r>
            <a:r>
              <a:rPr lang="ru-RU" sz="1400" dirty="0" err="1"/>
              <a:t>ДвижОК</a:t>
            </a:r>
            <a:r>
              <a:rPr lang="ru-RU" sz="1400" dirty="0"/>
              <a:t>»,</a:t>
            </a:r>
          </a:p>
          <a:p>
            <a:pPr algn="ctr"/>
            <a:r>
              <a:rPr lang="ru-RU" sz="1400" dirty="0"/>
              <a:t>возрождение детского хоккея в пгт. Пряжа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682" y="3171031"/>
            <a:ext cx="4107017" cy="2387228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240412" y="5605091"/>
            <a:ext cx="4106287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Турнир «Отечества достойные сыны»,</a:t>
            </a:r>
          </a:p>
          <a:p>
            <a:pPr algn="ctr"/>
            <a:r>
              <a:rPr lang="ru-RU" sz="1400" dirty="0" smtClean="0"/>
              <a:t>г. Сегежа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09191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k31xt4aX0KfNsMMU5Zmd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anchor="b">
        <a:spAutoFit/>
      </a:bodyPr>
      <a:lstStyle>
        <a:defPPr marL="168245" indent="-166659" algn="ctr" defTabSz="1041216">
          <a:buSzPct val="120000"/>
          <a:defRPr sz="2400" b="1" dirty="0">
            <a:solidFill>
              <a:schemeClr val="tx2"/>
            </a:solidFill>
            <a:latin typeface="Calibri"/>
            <a:ea typeface="Calibri"/>
            <a:cs typeface="Calibri"/>
            <a:sym typeface="Calibri"/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9</TotalTime>
  <Words>554</Words>
  <Application>Microsoft Office PowerPoint</Application>
  <PresentationFormat>Произвольный</PresentationFormat>
  <Paragraphs>83</Paragraphs>
  <Slides>14</Slides>
  <Notes>1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0" baseType="lpstr">
      <vt:lpstr>SimSun</vt:lpstr>
      <vt:lpstr>Arial</vt:lpstr>
      <vt:lpstr>Calibri</vt:lpstr>
      <vt:lpstr>Calibri Light</vt:lpstr>
      <vt:lpstr>Times New Roman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nline2PDF.com</dc:creator>
  <cp:lastModifiedBy>Igor Baradachev</cp:lastModifiedBy>
  <cp:revision>270</cp:revision>
  <cp:lastPrinted>2018-10-18T09:35:23Z</cp:lastPrinted>
  <dcterms:created xsi:type="dcterms:W3CDTF">2014-12-23T23:08:55Z</dcterms:created>
  <dcterms:modified xsi:type="dcterms:W3CDTF">2018-10-18T09:5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4-12-23T00:00:00Z</vt:filetime>
  </property>
  <property fmtid="{D5CDD505-2E9C-101B-9397-08002B2CF9AE}" pid="3" name="LastSaved">
    <vt:filetime>2014-12-23T00:00:00Z</vt:filetime>
  </property>
</Properties>
</file>